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4.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 id="2147483704" r:id="rId2"/>
    <p:sldMasterId id="2147483743" r:id="rId3"/>
    <p:sldMasterId id="2147483825" r:id="rId4"/>
  </p:sldMasterIdLst>
  <p:notesMasterIdLst>
    <p:notesMasterId r:id="rId26"/>
  </p:notesMasterIdLst>
  <p:sldIdLst>
    <p:sldId id="256" r:id="rId5"/>
    <p:sldId id="726" r:id="rId6"/>
    <p:sldId id="772" r:id="rId7"/>
    <p:sldId id="651" r:id="rId8"/>
    <p:sldId id="773" r:id="rId9"/>
    <p:sldId id="775" r:id="rId10"/>
    <p:sldId id="774" r:id="rId11"/>
    <p:sldId id="778" r:id="rId12"/>
    <p:sldId id="788" r:id="rId13"/>
    <p:sldId id="789" r:id="rId14"/>
    <p:sldId id="790" r:id="rId15"/>
    <p:sldId id="781" r:id="rId16"/>
    <p:sldId id="787" r:id="rId17"/>
    <p:sldId id="285" r:id="rId18"/>
    <p:sldId id="264" r:id="rId19"/>
    <p:sldId id="265" r:id="rId20"/>
    <p:sldId id="657" r:id="rId21"/>
    <p:sldId id="653" r:id="rId22"/>
    <p:sldId id="655" r:id="rId23"/>
    <p:sldId id="654" r:id="rId24"/>
    <p:sldId id="784"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a:srgbClr val="F5F7A3"/>
    <a:srgbClr val="CC9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69" autoAdjust="0"/>
    <p:restoredTop sz="94660"/>
  </p:normalViewPr>
  <p:slideViewPr>
    <p:cSldViewPr snapToGrid="0">
      <p:cViewPr varScale="1">
        <p:scale>
          <a:sx n="72" d="100"/>
          <a:sy n="72" d="100"/>
        </p:scale>
        <p:origin x="456" y="66"/>
      </p:cViewPr>
      <p:guideLst/>
    </p:cSldViewPr>
  </p:slideViewPr>
  <p:notesTextViewPr>
    <p:cViewPr>
      <p:scale>
        <a:sx n="1" d="1"/>
        <a:sy n="1" d="1"/>
      </p:scale>
      <p:origin x="0" y="0"/>
    </p:cViewPr>
  </p:notesTextViewPr>
  <p:sorterViewPr>
    <p:cViewPr>
      <p:scale>
        <a:sx n="100" d="100"/>
        <a:sy n="100" d="100"/>
      </p:scale>
      <p:origin x="0" y="-197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3A321D-5DA5-43E0-8088-260CF31C500B}" type="datetimeFigureOut">
              <a:rPr lang="en-US" smtClean="0"/>
              <a:t>1/2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693366-5314-4459-848A-4C971C047141}" type="slidenum">
              <a:rPr lang="en-US" smtClean="0"/>
              <a:t>‹#›</a:t>
            </a:fld>
            <a:endParaRPr lang="en-US"/>
          </a:p>
        </p:txBody>
      </p:sp>
    </p:spTree>
    <p:extLst>
      <p:ext uri="{BB962C8B-B14F-4D97-AF65-F5344CB8AC3E}">
        <p14:creationId xmlns:p14="http://schemas.microsoft.com/office/powerpoint/2010/main" val="15138596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3.xml"/><Relationship Id="rId5" Type="http://schemas.openxmlformats.org/officeDocument/2006/relationships/tags" Target="../tags/tag5.xml"/><Relationship Id="rId10" Type="http://schemas.openxmlformats.org/officeDocument/2006/relationships/image" Target="../media/image4.jpg"/><Relationship Id="rId4" Type="http://schemas.openxmlformats.org/officeDocument/2006/relationships/tags" Target="../tags/tag4.xml"/><Relationship Id="rId9"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8.png"/><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1.xml"/><Relationship Id="rId7" Type="http://schemas.openxmlformats.org/officeDocument/2006/relationships/image" Target="../media/image2.emf"/><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3.xml"/><Relationship Id="rId4" Type="http://schemas.openxmlformats.org/officeDocument/2006/relationships/tags" Target="../tags/tag3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5.xml"/><Relationship Id="rId7" Type="http://schemas.openxmlformats.org/officeDocument/2006/relationships/oleObject" Target="../embeddings/oleObject6.bin"/><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slideMaster" Target="../slideMasters/slideMaster3.xml"/><Relationship Id="rId5" Type="http://schemas.openxmlformats.org/officeDocument/2006/relationships/tags" Target="../tags/tag37.xml"/><Relationship Id="rId10" Type="http://schemas.openxmlformats.org/officeDocument/2006/relationships/image" Target="../media/image4.jpg"/><Relationship Id="rId4" Type="http://schemas.openxmlformats.org/officeDocument/2006/relationships/tags" Target="../tags/tag36.xml"/><Relationship Id="rId9"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9.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4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4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4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4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4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46.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50.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5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5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5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5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55.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6.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7.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60.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1.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2.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3.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5.xml"/><Relationship Id="rId7" Type="http://schemas.openxmlformats.org/officeDocument/2006/relationships/image" Target="../media/image2.emf"/><Relationship Id="rId2" Type="http://schemas.openxmlformats.org/officeDocument/2006/relationships/tags" Target="../tags/tag6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3.xml"/><Relationship Id="rId4" Type="http://schemas.openxmlformats.org/officeDocument/2006/relationships/tags" Target="../tags/tag6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3.png"/><Relationship Id="rId2" Type="http://schemas.openxmlformats.org/officeDocument/2006/relationships/tags" Target="../tags/tag72.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3.png"/><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2.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40A57-7DC1-4919-B423-9724E64145B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39A3813-4296-44FF-A22E-4F6E661E73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328509-AED7-44B7-8230-9EF53945A05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1630CCC-2944-448B-875E-4AA7F68D93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96D8E1-96CE-4231-BB00-9DFEE29CE906}"/>
              </a:ext>
            </a:extLst>
          </p:cNvPr>
          <p:cNvSpPr>
            <a:spLocks noGrp="1"/>
          </p:cNvSpPr>
          <p:nvPr>
            <p:ph type="sldNum" sz="quarter" idx="12"/>
          </p:nvPr>
        </p:nvSpPr>
        <p:spPr/>
        <p:txBody>
          <a:bodyPr/>
          <a:lstStyle/>
          <a:p>
            <a:fld id="{D02D8435-E5D0-497E-BFE2-0F08F380CD94}" type="slidenum">
              <a:rPr lang="en-US" smtClean="0"/>
              <a:pPr/>
              <a:t>‹#›</a:t>
            </a:fld>
            <a:endParaRPr lang="en-US"/>
          </a:p>
        </p:txBody>
      </p:sp>
    </p:spTree>
    <p:extLst>
      <p:ext uri="{BB962C8B-B14F-4D97-AF65-F5344CB8AC3E}">
        <p14:creationId xmlns:p14="http://schemas.microsoft.com/office/powerpoint/2010/main" val="33433926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A92BA-3404-4BFD-A215-9DA1A45223E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A04C73F-1243-4B93-957B-653E67F2976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3D454F-422D-4258-9AAC-1F6ECFA7D5DA}"/>
              </a:ext>
            </a:extLst>
          </p:cNvPr>
          <p:cNvSpPr>
            <a:spLocks noGrp="1"/>
          </p:cNvSpPr>
          <p:nvPr>
            <p:ph type="dt" sz="half" idx="10"/>
          </p:nvPr>
        </p:nvSpPr>
        <p:spPr/>
        <p:txBody>
          <a:bodyPr/>
          <a:lstStyle/>
          <a:p>
            <a:fld id="{B61BEF0D-F0BB-DE4B-95CE-6DB70DBA9567}" type="datetimeFigureOut">
              <a:rPr lang="en-US" smtClean="0"/>
              <a:pPr/>
              <a:t>1/23/2020</a:t>
            </a:fld>
            <a:endParaRPr lang="en-US" dirty="0"/>
          </a:p>
        </p:txBody>
      </p:sp>
      <p:sp>
        <p:nvSpPr>
          <p:cNvPr id="5" name="Footer Placeholder 4">
            <a:extLst>
              <a:ext uri="{FF2B5EF4-FFF2-40B4-BE49-F238E27FC236}">
                <a16:creationId xmlns:a16="http://schemas.microsoft.com/office/drawing/2014/main" id="{08F488BA-F97F-4DC7-B26E-1BE7BC8932E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58065A4-C515-49EE-B1A6-D1E287FB2504}"/>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6464155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8" name="Rectangle 17"/>
          <p:cNvSpPr/>
          <p:nvPr/>
        </p:nvSpPr>
        <p:spPr>
          <a:xfrm>
            <a:off x="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8523" y="2243828"/>
            <a:ext cx="4494998" cy="1134640"/>
          </a:xfrm>
          <a:solidFill>
            <a:srgbClr val="FFFFFF"/>
          </a:solidFill>
          <a:ln>
            <a:solidFill>
              <a:srgbClr val="404040"/>
            </a:solidFill>
          </a:ln>
        </p:spPr>
        <p:txBody>
          <a:bodyPr anchor="ctr" anchorCtr="1">
            <a:noAutofit/>
          </a:bodyPr>
          <a:lstStyle>
            <a:lvl1pPr>
              <a:defRPr sz="2200">
                <a:solidFill>
                  <a:srgbClr val="262626"/>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6095999" y="0"/>
            <a:ext cx="6102097" cy="6858000"/>
          </a:xfrm>
          <a:solidFill>
            <a:schemeClr val="bg1">
              <a:lumMod val="75000"/>
            </a:schemeClr>
          </a:solidFill>
        </p:spPr>
        <p:txBody>
          <a:bodyPr anchor="t"/>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15568" y="3549918"/>
            <a:ext cx="3794760" cy="2194037"/>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Date Placeholder 7"/>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endParaRPr lang="en-US" dirty="0"/>
          </a:p>
        </p:txBody>
      </p:sp>
      <p:sp>
        <p:nvSpPr>
          <p:cNvPr id="9" name="Footer Placeholder 8"/>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dirty="0"/>
          </a:p>
        </p:txBody>
      </p:sp>
      <p:sp>
        <p:nvSpPr>
          <p:cNvPr id="10" name="Slide Number Placeholder 9"/>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3407788681"/>
      </p:ext>
    </p:extLst>
  </p:cSld>
  <p:clrMapOvr>
    <a:masterClrMapping/>
  </p:clrMapOvr>
  <p:hf sldNum="0"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801810238"/>
      </p:ext>
    </p:extLst>
  </p:cSld>
  <p:clrMapOvr>
    <a:masterClrMapping/>
  </p:clrMapOvr>
  <p:hf sldNum="0"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53112" y="937260"/>
            <a:ext cx="1298608" cy="498348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2231136" y="937260"/>
            <a:ext cx="6198489" cy="498348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1054241218"/>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DE471B6-B4B0-4A8F-A7C5-C7320ECE63F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17FEB29-5689-4A50-A366-DC96BBB0F07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1C433D-AD7F-458D-BED2-81223E44472E}"/>
              </a:ext>
            </a:extLst>
          </p:cNvPr>
          <p:cNvSpPr>
            <a:spLocks noGrp="1"/>
          </p:cNvSpPr>
          <p:nvPr>
            <p:ph type="dt" sz="half" idx="10"/>
          </p:nvPr>
        </p:nvSpPr>
        <p:spPr/>
        <p:txBody>
          <a:bodyPr/>
          <a:lstStyle/>
          <a:p>
            <a:fld id="{B61BEF0D-F0BB-DE4B-95CE-6DB70DBA9567}" type="datetimeFigureOut">
              <a:rPr lang="en-US" smtClean="0"/>
              <a:pPr/>
              <a:t>1/23/2020</a:t>
            </a:fld>
            <a:endParaRPr lang="en-US" dirty="0"/>
          </a:p>
        </p:txBody>
      </p:sp>
      <p:sp>
        <p:nvSpPr>
          <p:cNvPr id="5" name="Footer Placeholder 4">
            <a:extLst>
              <a:ext uri="{FF2B5EF4-FFF2-40B4-BE49-F238E27FC236}">
                <a16:creationId xmlns:a16="http://schemas.microsoft.com/office/drawing/2014/main" id="{BF233B1B-0076-4B27-86D2-C9428DCD4F4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3B6A825-3561-4F15-BF68-A219762281EE}"/>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6968920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BCFD965-A48A-403D-A653-D1771C0A7E6E}" type="datetimeFigureOut">
              <a:rPr lang="en-US" smtClean="0"/>
              <a:t>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93C358-11DB-44D9-9AD8-6D6CEC7C5C40}"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42544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BCFD965-A48A-403D-A653-D1771C0A7E6E}" type="datetimeFigureOut">
              <a:rPr lang="en-US" smtClean="0"/>
              <a:t>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93C358-11DB-44D9-9AD8-6D6CEC7C5C40}" type="slidenum">
              <a:rPr lang="en-US" smtClean="0"/>
              <a:t>‹#›</a:t>
            </a:fld>
            <a:endParaRPr lang="en-US"/>
          </a:p>
        </p:txBody>
      </p:sp>
    </p:spTree>
    <p:extLst>
      <p:ext uri="{BB962C8B-B14F-4D97-AF65-F5344CB8AC3E}">
        <p14:creationId xmlns:p14="http://schemas.microsoft.com/office/powerpoint/2010/main" val="21676093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BCFD965-A48A-403D-A653-D1771C0A7E6E}" type="datetimeFigureOut">
              <a:rPr lang="en-US" smtClean="0"/>
              <a:t>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93C358-11DB-44D9-9AD8-6D6CEC7C5C40}"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20358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CFD965-A48A-403D-A653-D1771C0A7E6E}" type="datetimeFigureOut">
              <a:rPr lang="en-US" smtClean="0"/>
              <a:t>1/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193C358-11DB-44D9-9AD8-6D6CEC7C5C40}" type="slidenum">
              <a:rPr lang="en-US" smtClean="0"/>
              <a:t>‹#›</a:t>
            </a:fld>
            <a:endParaRPr lang="en-US"/>
          </a:p>
        </p:txBody>
      </p:sp>
    </p:spTree>
    <p:extLst>
      <p:ext uri="{BB962C8B-B14F-4D97-AF65-F5344CB8AC3E}">
        <p14:creationId xmlns:p14="http://schemas.microsoft.com/office/powerpoint/2010/main" val="34583794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BCFD965-A48A-403D-A653-D1771C0A7E6E}" type="datetimeFigureOut">
              <a:rPr lang="en-US" smtClean="0"/>
              <a:t>1/23/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193C358-11DB-44D9-9AD8-6D6CEC7C5C40}" type="slidenum">
              <a:rPr lang="en-US" smtClean="0"/>
              <a:t>‹#›</a:t>
            </a:fld>
            <a:endParaRPr lang="en-US"/>
          </a:p>
        </p:txBody>
      </p:sp>
    </p:spTree>
    <p:extLst>
      <p:ext uri="{BB962C8B-B14F-4D97-AF65-F5344CB8AC3E}">
        <p14:creationId xmlns:p14="http://schemas.microsoft.com/office/powerpoint/2010/main" val="27484014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BCFD965-A48A-403D-A653-D1771C0A7E6E}" type="datetimeFigureOut">
              <a:rPr lang="en-US" smtClean="0"/>
              <a:t>1/23/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193C358-11DB-44D9-9AD8-6D6CEC7C5C40}" type="slidenum">
              <a:rPr lang="en-US" smtClean="0"/>
              <a:t>‹#›</a:t>
            </a:fld>
            <a:endParaRPr lang="en-US"/>
          </a:p>
        </p:txBody>
      </p:sp>
    </p:spTree>
    <p:extLst>
      <p:ext uri="{BB962C8B-B14F-4D97-AF65-F5344CB8AC3E}">
        <p14:creationId xmlns:p14="http://schemas.microsoft.com/office/powerpoint/2010/main" val="19144383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EBCFD965-A48A-403D-A653-D1771C0A7E6E}" type="datetimeFigureOut">
              <a:rPr lang="en-US" smtClean="0"/>
              <a:t>1/23/2020</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3193C358-11DB-44D9-9AD8-6D6CEC7C5C40}" type="slidenum">
              <a:rPr lang="en-US" smtClean="0"/>
              <a:t>‹#›</a:t>
            </a:fld>
            <a:endParaRPr lang="en-US"/>
          </a:p>
        </p:txBody>
      </p:sp>
    </p:spTree>
    <p:extLst>
      <p:ext uri="{BB962C8B-B14F-4D97-AF65-F5344CB8AC3E}">
        <p14:creationId xmlns:p14="http://schemas.microsoft.com/office/powerpoint/2010/main" val="42187526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EBCFD965-A48A-403D-A653-D1771C0A7E6E}" type="datetimeFigureOut">
              <a:rPr lang="en-US" smtClean="0"/>
              <a:t>1/23/2020</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193C358-11DB-44D9-9AD8-6D6CEC7C5C40}" type="slidenum">
              <a:rPr lang="en-US" smtClean="0"/>
              <a:t>‹#›</a:t>
            </a:fld>
            <a:endParaRPr lang="en-US"/>
          </a:p>
        </p:txBody>
      </p:sp>
    </p:spTree>
    <p:extLst>
      <p:ext uri="{BB962C8B-B14F-4D97-AF65-F5344CB8AC3E}">
        <p14:creationId xmlns:p14="http://schemas.microsoft.com/office/powerpoint/2010/main" val="28476398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B0DEC-33BF-4AC8-A33C-DDF0460235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9117FA-B2E0-4603-BA15-53CA531470C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BB3DB5-ED52-4D61-853C-F636898F226F}"/>
              </a:ext>
            </a:extLst>
          </p:cNvPr>
          <p:cNvSpPr>
            <a:spLocks noGrp="1"/>
          </p:cNvSpPr>
          <p:nvPr>
            <p:ph type="dt" sz="half" idx="10"/>
          </p:nvPr>
        </p:nvSpPr>
        <p:spPr/>
        <p:txBody>
          <a:bodyPr/>
          <a:lstStyle/>
          <a:p>
            <a:fld id="{52647F38-B617-4D2F-AE0A-013F0C4D2C57}" type="datetimeFigureOut">
              <a:rPr lang="en-US" smtClean="0"/>
              <a:t>1/23/2020</a:t>
            </a:fld>
            <a:endParaRPr lang="en-US" dirty="0"/>
          </a:p>
        </p:txBody>
      </p:sp>
      <p:sp>
        <p:nvSpPr>
          <p:cNvPr id="5" name="Footer Placeholder 4">
            <a:extLst>
              <a:ext uri="{FF2B5EF4-FFF2-40B4-BE49-F238E27FC236}">
                <a16:creationId xmlns:a16="http://schemas.microsoft.com/office/drawing/2014/main" id="{EFA210EF-374F-43B5-A31A-F60E824FB2E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2E19AC-BA99-4A2B-9297-6092D07DA3BC}"/>
              </a:ext>
            </a:extLst>
          </p:cNvPr>
          <p:cNvSpPr>
            <a:spLocks noGrp="1"/>
          </p:cNvSpPr>
          <p:nvPr>
            <p:ph type="sldNum" sz="quarter" idx="12"/>
          </p:nvPr>
        </p:nvSpPr>
        <p:spPr/>
        <p:txBody>
          <a:bodyPr/>
          <a:lstStyle/>
          <a:p>
            <a:fld id="{E97799C9-84D9-46D2-A11E-BCF8A720529D}" type="slidenum">
              <a:rPr lang="en-US" smtClean="0"/>
              <a:t>‹#›</a:t>
            </a:fld>
            <a:endParaRPr lang="en-US" dirty="0"/>
          </a:p>
        </p:txBody>
      </p:sp>
    </p:spTree>
    <p:extLst>
      <p:ext uri="{BB962C8B-B14F-4D97-AF65-F5344CB8AC3E}">
        <p14:creationId xmlns:p14="http://schemas.microsoft.com/office/powerpoint/2010/main" val="34879347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BCFD965-A48A-403D-A653-D1771C0A7E6E}" type="datetimeFigureOut">
              <a:rPr lang="en-US" smtClean="0"/>
              <a:t>1/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193C358-11DB-44D9-9AD8-6D6CEC7C5C40}" type="slidenum">
              <a:rPr lang="en-US" smtClean="0"/>
              <a:t>‹#›</a:t>
            </a:fld>
            <a:endParaRPr lang="en-US"/>
          </a:p>
        </p:txBody>
      </p:sp>
    </p:spTree>
    <p:extLst>
      <p:ext uri="{BB962C8B-B14F-4D97-AF65-F5344CB8AC3E}">
        <p14:creationId xmlns:p14="http://schemas.microsoft.com/office/powerpoint/2010/main" val="6557049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BCFD965-A48A-403D-A653-D1771C0A7E6E}" type="datetimeFigureOut">
              <a:rPr lang="en-US" smtClean="0"/>
              <a:t>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93C358-11DB-44D9-9AD8-6D6CEC7C5C40}" type="slidenum">
              <a:rPr lang="en-US" smtClean="0"/>
              <a:t>‹#›</a:t>
            </a:fld>
            <a:endParaRPr lang="en-US"/>
          </a:p>
        </p:txBody>
      </p:sp>
    </p:spTree>
    <p:extLst>
      <p:ext uri="{BB962C8B-B14F-4D97-AF65-F5344CB8AC3E}">
        <p14:creationId xmlns:p14="http://schemas.microsoft.com/office/powerpoint/2010/main" val="24783328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BCFD965-A48A-403D-A653-D1771C0A7E6E}" type="datetimeFigureOut">
              <a:rPr lang="en-US" smtClean="0"/>
              <a:t>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93C358-11DB-44D9-9AD8-6D6CEC7C5C40}" type="slidenum">
              <a:rPr lang="en-US" smtClean="0"/>
              <a:t>‹#›</a:t>
            </a:fld>
            <a:endParaRPr lang="en-US"/>
          </a:p>
        </p:txBody>
      </p:sp>
    </p:spTree>
    <p:extLst>
      <p:ext uri="{BB962C8B-B14F-4D97-AF65-F5344CB8AC3E}">
        <p14:creationId xmlns:p14="http://schemas.microsoft.com/office/powerpoint/2010/main" val="2719614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3"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362747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836775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14071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428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3052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5967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11503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22445-6275-495F-849B-EFEF3EE02BE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B2DF6F8-65AD-457E-B1EE-DCE3E845A10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096C7DE-F9CB-49FF-9CFC-5BF661CD15B3}"/>
              </a:ext>
            </a:extLst>
          </p:cNvPr>
          <p:cNvSpPr>
            <a:spLocks noGrp="1"/>
          </p:cNvSpPr>
          <p:nvPr>
            <p:ph type="dt" sz="half" idx="10"/>
          </p:nvPr>
        </p:nvSpPr>
        <p:spPr/>
        <p:txBody>
          <a:bodyPr/>
          <a:lstStyle/>
          <a:p>
            <a:fld id="{B61BEF0D-F0BB-DE4B-95CE-6DB70DBA9567}" type="datetimeFigureOut">
              <a:rPr lang="en-US" smtClean="0"/>
              <a:pPr/>
              <a:t>1/23/2020</a:t>
            </a:fld>
            <a:endParaRPr lang="en-US" dirty="0"/>
          </a:p>
        </p:txBody>
      </p:sp>
      <p:sp>
        <p:nvSpPr>
          <p:cNvPr id="5" name="Footer Placeholder 4">
            <a:extLst>
              <a:ext uri="{FF2B5EF4-FFF2-40B4-BE49-F238E27FC236}">
                <a16:creationId xmlns:a16="http://schemas.microsoft.com/office/drawing/2014/main" id="{7C84491E-DDB2-42A3-ADE7-7844B675285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106CB09-84E7-4EFF-A1D6-DAF31C364352}"/>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081459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35133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35535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31995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64845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6056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66354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7"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0546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997812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1447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626296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BCA5F-998C-4DCE-96A5-2E75C28F1B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EDC4D5-FDCB-4BC1-9CC9-88BD455002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468DE16-B68A-4835-96C3-595BEDB08F3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8B1D4-A460-47E1-A8B5-20AE1A8B61C2}"/>
              </a:ext>
            </a:extLst>
          </p:cNvPr>
          <p:cNvSpPr>
            <a:spLocks noGrp="1"/>
          </p:cNvSpPr>
          <p:nvPr>
            <p:ph type="dt" sz="half" idx="10"/>
          </p:nvPr>
        </p:nvSpPr>
        <p:spPr/>
        <p:txBody>
          <a:bodyPr/>
          <a:lstStyle/>
          <a:p>
            <a:fld id="{05BFA754-D5C3-4E66-96A6-867B257F58DC}" type="datetimeFigureOut">
              <a:rPr lang="en-US" smtClean="0"/>
              <a:t>1/23/2020</a:t>
            </a:fld>
            <a:endParaRPr lang="en-US" dirty="0"/>
          </a:p>
        </p:txBody>
      </p:sp>
      <p:sp>
        <p:nvSpPr>
          <p:cNvPr id="6" name="Footer Placeholder 5">
            <a:extLst>
              <a:ext uri="{FF2B5EF4-FFF2-40B4-BE49-F238E27FC236}">
                <a16:creationId xmlns:a16="http://schemas.microsoft.com/office/drawing/2014/main" id="{8124FB0F-AF5F-439E-8FB3-FD72380F99E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9E2E167-812F-41BF-A7E7-10845250E85B}"/>
              </a:ext>
            </a:extLst>
          </p:cNvPr>
          <p:cNvSpPr>
            <a:spLocks noGrp="1"/>
          </p:cNvSpPr>
          <p:nvPr>
            <p:ph type="sldNum" sz="quarter" idx="12"/>
          </p:nvPr>
        </p:nvSpPr>
        <p:spPr/>
        <p:txBody>
          <a:bodyPr/>
          <a:lstStyle/>
          <a:p>
            <a:fld id="{5D84065D-F351-4B03-BD91-D8A6B8D4B362}" type="slidenum">
              <a:rPr lang="en-US" smtClean="0"/>
              <a:t>‹#›</a:t>
            </a:fld>
            <a:endParaRPr lang="en-US" dirty="0"/>
          </a:p>
        </p:txBody>
      </p:sp>
    </p:spTree>
    <p:extLst>
      <p:ext uri="{BB962C8B-B14F-4D97-AF65-F5344CB8AC3E}">
        <p14:creationId xmlns:p14="http://schemas.microsoft.com/office/powerpoint/2010/main" val="6293077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332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519527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59470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29190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318079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25248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89337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79188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0838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5"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059260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0F492B-04D6-48E9-84D4-34FBB59DF1D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EAABDD2-3132-4A54-A6CF-DF967D2E44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C5C86E6-9A31-4BCF-A114-40A21D332E7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640A950-AF95-4B6A-A3F1-2C73173667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0EEEBE-41F9-43F8-A468-D8F9F7691E0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D8B3B2D-5D27-4E24-ADE9-E07A4ED693D6}"/>
              </a:ext>
            </a:extLst>
          </p:cNvPr>
          <p:cNvSpPr>
            <a:spLocks noGrp="1"/>
          </p:cNvSpPr>
          <p:nvPr>
            <p:ph type="dt" sz="half" idx="10"/>
          </p:nvPr>
        </p:nvSpPr>
        <p:spPr/>
        <p:txBody>
          <a:bodyPr/>
          <a:lstStyle/>
          <a:p>
            <a:fld id="{B61BEF0D-F0BB-DE4B-95CE-6DB70DBA9567}" type="datetimeFigureOut">
              <a:rPr lang="en-US" smtClean="0"/>
              <a:pPr/>
              <a:t>1/23/2020</a:t>
            </a:fld>
            <a:endParaRPr lang="en-US" dirty="0"/>
          </a:p>
        </p:txBody>
      </p:sp>
      <p:sp>
        <p:nvSpPr>
          <p:cNvPr id="8" name="Footer Placeholder 7">
            <a:extLst>
              <a:ext uri="{FF2B5EF4-FFF2-40B4-BE49-F238E27FC236}">
                <a16:creationId xmlns:a16="http://schemas.microsoft.com/office/drawing/2014/main" id="{B2D5D4FD-D8DA-42F0-A31D-F77E3BD675A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1EB2FCD6-A0C2-465E-8EB0-8904ECF51F40}"/>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120474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98325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9"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543510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27634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21157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19913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0247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5834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2759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55649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63801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8D494-AD63-4E95-BC93-070FF91F029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0D3C9E5-E29A-496F-8E17-B643BD3897FE}"/>
              </a:ext>
            </a:extLst>
          </p:cNvPr>
          <p:cNvSpPr>
            <a:spLocks noGrp="1"/>
          </p:cNvSpPr>
          <p:nvPr>
            <p:ph type="dt" sz="half" idx="10"/>
          </p:nvPr>
        </p:nvSpPr>
        <p:spPr/>
        <p:txBody>
          <a:bodyPr/>
          <a:lstStyle/>
          <a:p>
            <a:fld id="{B61BEF0D-F0BB-DE4B-95CE-6DB70DBA9567}" type="datetimeFigureOut">
              <a:rPr lang="en-US" smtClean="0"/>
              <a:pPr/>
              <a:t>1/23/2020</a:t>
            </a:fld>
            <a:endParaRPr lang="en-US" dirty="0"/>
          </a:p>
        </p:txBody>
      </p:sp>
      <p:sp>
        <p:nvSpPr>
          <p:cNvPr id="4" name="Footer Placeholder 3">
            <a:extLst>
              <a:ext uri="{FF2B5EF4-FFF2-40B4-BE49-F238E27FC236}">
                <a16:creationId xmlns:a16="http://schemas.microsoft.com/office/drawing/2014/main" id="{46387709-21F2-4EC6-A6AA-8EE61B8E46E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D1935D0-498E-4712-8EEB-CD6E14AEBBB9}"/>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849848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0291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82272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65028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3"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9524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22643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6064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5878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714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4881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7674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B84921-50B2-46D5-809E-F8E7A17331DB}"/>
              </a:ext>
            </a:extLst>
          </p:cNvPr>
          <p:cNvSpPr>
            <a:spLocks noGrp="1"/>
          </p:cNvSpPr>
          <p:nvPr>
            <p:ph type="dt" sz="half" idx="10"/>
          </p:nvPr>
        </p:nvSpPr>
        <p:spPr/>
        <p:txBody>
          <a:bodyPr/>
          <a:lstStyle/>
          <a:p>
            <a:fld id="{B61BEF0D-F0BB-DE4B-95CE-6DB70DBA9567}" type="datetimeFigureOut">
              <a:rPr lang="en-US" smtClean="0"/>
              <a:pPr/>
              <a:t>1/23/2020</a:t>
            </a:fld>
            <a:endParaRPr lang="en-US" dirty="0"/>
          </a:p>
        </p:txBody>
      </p:sp>
      <p:sp>
        <p:nvSpPr>
          <p:cNvPr id="3" name="Footer Placeholder 2">
            <a:extLst>
              <a:ext uri="{FF2B5EF4-FFF2-40B4-BE49-F238E27FC236}">
                <a16:creationId xmlns:a16="http://schemas.microsoft.com/office/drawing/2014/main" id="{77885467-8963-499C-8D91-1D8068A52C0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7A0C446-7BAF-4624-9F6C-DB8EB975D683}"/>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32122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908829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7958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23432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893670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04309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9194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FAR Strategic Plan Memo - May 2019 - Appendix 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0035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31949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009016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1"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000016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0AEF2-0C4D-44E3-A61B-0C6C79D2A15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3C3C805-BFD8-425D-8325-131FA35090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ECECB4-7260-4C82-8598-0334DB76B8A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156B5C-B925-403D-98D6-A0B72A75AE2C}"/>
              </a:ext>
            </a:extLst>
          </p:cNvPr>
          <p:cNvSpPr>
            <a:spLocks noGrp="1"/>
          </p:cNvSpPr>
          <p:nvPr>
            <p:ph type="dt" sz="half" idx="10"/>
          </p:nvPr>
        </p:nvSpPr>
        <p:spPr/>
        <p:txBody>
          <a:bodyPr/>
          <a:lstStyle/>
          <a:p>
            <a:fld id="{B61BEF0D-F0BB-DE4B-95CE-6DB70DBA9567}" type="datetimeFigureOut">
              <a:rPr lang="en-US" smtClean="0"/>
              <a:pPr/>
              <a:t>1/23/2020</a:t>
            </a:fld>
            <a:endParaRPr lang="en-US" dirty="0"/>
          </a:p>
        </p:txBody>
      </p:sp>
      <p:sp>
        <p:nvSpPr>
          <p:cNvPr id="6" name="Footer Placeholder 5">
            <a:extLst>
              <a:ext uri="{FF2B5EF4-FFF2-40B4-BE49-F238E27FC236}">
                <a16:creationId xmlns:a16="http://schemas.microsoft.com/office/drawing/2014/main" id="{33D88222-22EB-4015-A2BA-9818ED5CD7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F995C9B-F10D-4325-B1BF-8D87403C0473}"/>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6007241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49445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95636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302839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0304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358159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047930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721102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636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72984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4684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38445-CB3D-4DFC-8A0D-78C229CB542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2228A40-BB6D-462D-ABEE-103629EE737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8B78991-258E-4199-8D91-82B8E6E784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91A558-360B-48FF-9A43-1EBB2F6CFC20}"/>
              </a:ext>
            </a:extLst>
          </p:cNvPr>
          <p:cNvSpPr>
            <a:spLocks noGrp="1"/>
          </p:cNvSpPr>
          <p:nvPr>
            <p:ph type="dt" sz="half" idx="10"/>
          </p:nvPr>
        </p:nvSpPr>
        <p:spPr/>
        <p:txBody>
          <a:bodyPr/>
          <a:lstStyle/>
          <a:p>
            <a:fld id="{B61BEF0D-F0BB-DE4B-95CE-6DB70DBA9567}" type="datetimeFigureOut">
              <a:rPr lang="en-US" smtClean="0"/>
              <a:pPr/>
              <a:t>1/23/2020</a:t>
            </a:fld>
            <a:endParaRPr lang="en-US" dirty="0"/>
          </a:p>
        </p:txBody>
      </p:sp>
      <p:sp>
        <p:nvSpPr>
          <p:cNvPr id="6" name="Footer Placeholder 5">
            <a:extLst>
              <a:ext uri="{FF2B5EF4-FFF2-40B4-BE49-F238E27FC236}">
                <a16:creationId xmlns:a16="http://schemas.microsoft.com/office/drawing/2014/main" id="{E24711B4-899C-480B-98AF-159FA125EEF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F015BAF-D084-4C10-939D-DE51A8881A68}"/>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2411883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FF76A6E-7375-4042-9C51-0F7392F25E20}" type="datetimeFigureOut">
              <a:rPr lang="en-US" smtClean="0"/>
              <a:t>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B633AC-0B17-41FC-872F-2172020CA972}" type="slidenum">
              <a:rPr lang="en-US" smtClean="0"/>
              <a:t>‹#›</a:t>
            </a:fld>
            <a:endParaRPr lang="en-US"/>
          </a:p>
        </p:txBody>
      </p:sp>
    </p:spTree>
    <p:extLst>
      <p:ext uri="{BB962C8B-B14F-4D97-AF65-F5344CB8AC3E}">
        <p14:creationId xmlns:p14="http://schemas.microsoft.com/office/powerpoint/2010/main" val="120284618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FF76A6E-7375-4042-9C51-0F7392F25E20}" type="datetimeFigureOut">
              <a:rPr lang="en-US" smtClean="0"/>
              <a:t>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B633AC-0B17-41FC-872F-2172020CA972}" type="slidenum">
              <a:rPr lang="en-US" smtClean="0"/>
              <a:t>‹#›</a:t>
            </a:fld>
            <a:endParaRPr lang="en-US"/>
          </a:p>
        </p:txBody>
      </p:sp>
    </p:spTree>
    <p:extLst>
      <p:ext uri="{BB962C8B-B14F-4D97-AF65-F5344CB8AC3E}">
        <p14:creationId xmlns:p14="http://schemas.microsoft.com/office/powerpoint/2010/main" val="176739837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lgn="ctr">
              <a:defRPr sz="3800">
                <a:solidFill>
                  <a:srgbClr val="262626"/>
                </a:solidFill>
              </a:defRPr>
            </a:lvl1pPr>
          </a:lstStyle>
          <a:p>
            <a:r>
              <a:rPr lang="en-US"/>
              <a:t>Click to edit Master title style</a:t>
            </a:r>
            <a:endParaRPr lang="en-US" dirty="0"/>
          </a:p>
        </p:txBody>
      </p:sp>
      <p:sp>
        <p:nvSpPr>
          <p:cNvPr id="3" name="Subtitle 2"/>
          <p:cNvSpPr>
            <a:spLocks noGrp="1"/>
          </p:cNvSpPr>
          <p:nvPr>
            <p:ph type="subTitle" idx="1"/>
          </p:nvPr>
        </p:nvSpPr>
        <p:spPr>
          <a:xfrm>
            <a:off x="2695194" y="4352544"/>
            <a:ext cx="6801612" cy="1239894"/>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dirty="0"/>
          </a:p>
        </p:txBody>
      </p:sp>
    </p:spTree>
    <p:extLst>
      <p:ext uri="{BB962C8B-B14F-4D97-AF65-F5344CB8AC3E}">
        <p14:creationId xmlns:p14="http://schemas.microsoft.com/office/powerpoint/2010/main" val="1473115307"/>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FF76A6E-7375-4042-9C51-0F7392F25E20}" type="datetimeFigureOut">
              <a:rPr lang="en-US" smtClean="0"/>
              <a:t>1/23/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9B633AC-0B17-41FC-872F-2172020CA972}" type="slidenum">
              <a:rPr lang="en-US" smtClean="0"/>
              <a:t>‹#›</a:t>
            </a:fld>
            <a:endParaRPr lang="en-US"/>
          </a:p>
        </p:txBody>
      </p:sp>
    </p:spTree>
    <p:extLst>
      <p:ext uri="{BB962C8B-B14F-4D97-AF65-F5344CB8AC3E}">
        <p14:creationId xmlns:p14="http://schemas.microsoft.com/office/powerpoint/2010/main" val="304608610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defRPr sz="3800">
                <a:solidFill>
                  <a:srgbClr val="262626"/>
                </a:solidFill>
              </a:defRPr>
            </a:lvl1pPr>
          </a:lstStyle>
          <a:p>
            <a:r>
              <a:rPr lang="en-US"/>
              <a:t>Click to edit Master title style</a:t>
            </a:r>
            <a:endParaRPr lang="en-US" dirty="0"/>
          </a:p>
        </p:txBody>
      </p:sp>
      <p:sp>
        <p:nvSpPr>
          <p:cNvPr id="3" name="Text Placeholder 2"/>
          <p:cNvSpPr>
            <a:spLocks noGrp="1"/>
          </p:cNvSpPr>
          <p:nvPr>
            <p:ph type="body" idx="1"/>
          </p:nvPr>
        </p:nvSpPr>
        <p:spPr>
          <a:xfrm>
            <a:off x="2695194" y="4352465"/>
            <a:ext cx="6801612" cy="1265082"/>
          </a:xfrm>
        </p:spPr>
        <p:txBody>
          <a:bodyPr anchor="t" anchorCtr="1">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dirty="0"/>
          </a:p>
        </p:txBody>
      </p:sp>
    </p:spTree>
    <p:extLst>
      <p:ext uri="{BB962C8B-B14F-4D97-AF65-F5344CB8AC3E}">
        <p14:creationId xmlns:p14="http://schemas.microsoft.com/office/powerpoint/2010/main" val="419582510"/>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581912" y="2638044"/>
            <a:ext cx="4271771" cy="31019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38315" y="2638044"/>
            <a:ext cx="4270247" cy="31019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2323042219"/>
      </p:ext>
    </p:extLst>
  </p:cSld>
  <p:clrMapOvr>
    <a:masterClrMapping/>
  </p:clrMapOvr>
  <p:hf sldNum="0"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343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583436" y="3143250"/>
            <a:ext cx="4270248" cy="25967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338316" y="3143250"/>
            <a:ext cx="4253484" cy="2596776"/>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13"/>
          </p:nvPr>
        </p:nvSpPr>
        <p:spPr>
          <a:xfrm>
            <a:off x="633831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t>‹#›</a:t>
            </a:fld>
            <a:endParaRPr lang="en-US" dirty="0"/>
          </a:p>
        </p:txBody>
      </p:sp>
      <p:sp>
        <p:nvSpPr>
          <p:cNvPr id="10" name="Title 9"/>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2161485"/>
      </p:ext>
    </p:extLst>
  </p:cSld>
  <p:clrMapOvr>
    <a:masterClrMapping/>
  </p:clrMapOvr>
  <p:hf sldNum="0"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A7A6979-0714-4377-B894-6BE4C2D6E202}" type="slidenum">
              <a:rPr lang="en-US" dirty="0"/>
              <a:t>‹#›</a:t>
            </a:fld>
            <a:endParaRPr lang="en-US" dirty="0"/>
          </a:p>
        </p:txBody>
      </p:sp>
      <p:sp>
        <p:nvSpPr>
          <p:cNvPr id="6" name="Copyright">
            <a:extLst>
              <a:ext uri="{FF2B5EF4-FFF2-40B4-BE49-F238E27FC236}">
                <a16:creationId xmlns:a16="http://schemas.microsoft.com/office/drawing/2014/main" id="{2FD87D2F-4708-4805-94D6-B36FA19B6586}"/>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FooterSimple" hidden="1">
            <a:extLst>
              <a:ext uri="{FF2B5EF4-FFF2-40B4-BE49-F238E27FC236}">
                <a16:creationId xmlns:a16="http://schemas.microsoft.com/office/drawing/2014/main" id="{98B48090-2571-4A81-9DAE-5C821C40C649}"/>
              </a:ext>
            </a:extLst>
          </p:cNvPr>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9009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A7A6979-0714-4377-B894-6BE4C2D6E202}" type="slidenum">
              <a:rPr lang="en-US" dirty="0"/>
              <a:t>‹#›</a:t>
            </a:fld>
            <a:endParaRPr lang="en-US" dirty="0"/>
          </a:p>
        </p:txBody>
      </p:sp>
      <p:sp>
        <p:nvSpPr>
          <p:cNvPr id="5" name="Copyright">
            <a:extLst>
              <a:ext uri="{FF2B5EF4-FFF2-40B4-BE49-F238E27FC236}">
                <a16:creationId xmlns:a16="http://schemas.microsoft.com/office/drawing/2014/main" id="{C212BEFF-DEF9-4284-8127-D0A0F1D9877D}"/>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a:extLst>
              <a:ext uri="{FF2B5EF4-FFF2-40B4-BE49-F238E27FC236}">
                <a16:creationId xmlns:a16="http://schemas.microsoft.com/office/drawing/2014/main" id="{5FBE21CB-B089-4D7B-AFD2-2F7E3A5471FF}"/>
              </a:ext>
            </a:extLst>
          </p:cNvPr>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FAR Strategic Plan Memo - May 2019 - Appendix 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64166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6" name="Rectangle 25"/>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4672" y="2243828"/>
            <a:ext cx="4486656" cy="1141497"/>
          </a:xfrm>
          <a:solidFill>
            <a:srgbClr val="FFFFFF"/>
          </a:solidFill>
          <a:ln>
            <a:solidFill>
              <a:srgbClr val="404040"/>
            </a:solidFill>
          </a:ln>
        </p:spPr>
        <p:txBody>
          <a:bodyPr anchor="ctr" anchorCtr="1">
            <a:normAutofit/>
          </a:bodyPr>
          <a:lstStyle>
            <a:lvl1pPr>
              <a:defRPr sz="2200">
                <a:solidFill>
                  <a:srgbClr val="262626"/>
                </a:solidFill>
              </a:defRPr>
            </a:lvl1pPr>
          </a:lstStyle>
          <a:p>
            <a:r>
              <a:rPr lang="en-US"/>
              <a:t>Click to edit Master title style</a:t>
            </a:r>
            <a:endParaRPr lang="en-US" dirty="0"/>
          </a:p>
        </p:txBody>
      </p:sp>
      <p:sp>
        <p:nvSpPr>
          <p:cNvPr id="3" name="Content Placeholder 2"/>
          <p:cNvSpPr>
            <a:spLocks noGrp="1"/>
          </p:cNvSpPr>
          <p:nvPr>
            <p:ph idx="1"/>
          </p:nvPr>
        </p:nvSpPr>
        <p:spPr>
          <a:xfrm>
            <a:off x="6736080" y="804672"/>
            <a:ext cx="4815840" cy="5248656"/>
          </a:xfrm>
        </p:spPr>
        <p:txBody>
          <a:bodyPr>
            <a:normAutofit/>
          </a:bodyPr>
          <a:lstStyle>
            <a:lvl1pPr>
              <a:defRPr sz="19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15568" y="3549918"/>
            <a:ext cx="3794760" cy="2194036"/>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Date Placeholder 8"/>
          <p:cNvSpPr>
            <a:spLocks noGrp="1"/>
          </p:cNvSpPr>
          <p:nvPr>
            <p:ph type="dt" sz="half" idx="10"/>
          </p:nvPr>
        </p:nvSpPr>
        <p:spPr/>
        <p:txBody>
          <a:bodyPr/>
          <a:lstStyle/>
          <a:p>
            <a:endParaRPr lang="en-US" dirty="0"/>
          </a:p>
        </p:txBody>
      </p:sp>
      <p:sp>
        <p:nvSpPr>
          <p:cNvPr id="10" name="Footer Placeholder 9"/>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dirty="0"/>
          </a:p>
        </p:txBody>
      </p:sp>
      <p:sp>
        <p:nvSpPr>
          <p:cNvPr id="11" name="Slide Number Placeholder 10"/>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2978591598"/>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9" Type="http://schemas.openxmlformats.org/officeDocument/2006/relationships/slideLayout" Target="../slideLayouts/slideLayout61.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42" Type="http://schemas.openxmlformats.org/officeDocument/2006/relationships/slideLayout" Target="../slideLayouts/slideLayout64.xml"/><Relationship Id="rId47" Type="http://schemas.openxmlformats.org/officeDocument/2006/relationships/slideLayout" Target="../slideLayouts/slideLayout69.xml"/><Relationship Id="rId50" Type="http://schemas.openxmlformats.org/officeDocument/2006/relationships/slideLayout" Target="../slideLayouts/slideLayout72.xml"/><Relationship Id="rId55" Type="http://schemas.openxmlformats.org/officeDocument/2006/relationships/slideLayout" Target="../slideLayouts/slideLayout77.xml"/><Relationship Id="rId63" Type="http://schemas.openxmlformats.org/officeDocument/2006/relationships/slideLayout" Target="../slideLayouts/slideLayout85.xml"/><Relationship Id="rId68" Type="http://schemas.openxmlformats.org/officeDocument/2006/relationships/slideLayout" Target="../slideLayouts/slideLayout90.xml"/><Relationship Id="rId7" Type="http://schemas.openxmlformats.org/officeDocument/2006/relationships/slideLayout" Target="../slideLayouts/slideLayout29.xml"/><Relationship Id="rId71" Type="http://schemas.openxmlformats.org/officeDocument/2006/relationships/vmlDrawing" Target="../drawings/vmlDrawing1.v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9" Type="http://schemas.openxmlformats.org/officeDocument/2006/relationships/slideLayout" Target="../slideLayouts/slideLayout51.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slideLayout" Target="../slideLayouts/slideLayout59.xml"/><Relationship Id="rId40" Type="http://schemas.openxmlformats.org/officeDocument/2006/relationships/slideLayout" Target="../slideLayouts/slideLayout62.xml"/><Relationship Id="rId45" Type="http://schemas.openxmlformats.org/officeDocument/2006/relationships/slideLayout" Target="../slideLayouts/slideLayout67.xml"/><Relationship Id="rId53" Type="http://schemas.openxmlformats.org/officeDocument/2006/relationships/slideLayout" Target="../slideLayouts/slideLayout75.xml"/><Relationship Id="rId58" Type="http://schemas.openxmlformats.org/officeDocument/2006/relationships/slideLayout" Target="../slideLayouts/slideLayout80.xml"/><Relationship Id="rId66" Type="http://schemas.openxmlformats.org/officeDocument/2006/relationships/slideLayout" Target="../slideLayouts/slideLayout88.xml"/><Relationship Id="rId7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slideLayout" Target="../slideLayouts/slideLayout58.xml"/><Relationship Id="rId49" Type="http://schemas.openxmlformats.org/officeDocument/2006/relationships/slideLayout" Target="../slideLayouts/slideLayout71.xml"/><Relationship Id="rId57" Type="http://schemas.openxmlformats.org/officeDocument/2006/relationships/slideLayout" Target="../slideLayouts/slideLayout79.xml"/><Relationship Id="rId61" Type="http://schemas.openxmlformats.org/officeDocument/2006/relationships/slideLayout" Target="../slideLayouts/slideLayout83.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4" Type="http://schemas.openxmlformats.org/officeDocument/2006/relationships/slideLayout" Target="../slideLayouts/slideLayout66.xml"/><Relationship Id="rId52" Type="http://schemas.openxmlformats.org/officeDocument/2006/relationships/slideLayout" Target="../slideLayouts/slideLayout74.xml"/><Relationship Id="rId60" Type="http://schemas.openxmlformats.org/officeDocument/2006/relationships/slideLayout" Target="../slideLayouts/slideLayout82.xml"/><Relationship Id="rId65" Type="http://schemas.openxmlformats.org/officeDocument/2006/relationships/slideLayout" Target="../slideLayouts/slideLayout87.xml"/><Relationship Id="rId73" Type="http://schemas.openxmlformats.org/officeDocument/2006/relationships/oleObject" Target="../embeddings/oleObject1.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43" Type="http://schemas.openxmlformats.org/officeDocument/2006/relationships/slideLayout" Target="../slideLayouts/slideLayout65.xml"/><Relationship Id="rId48" Type="http://schemas.openxmlformats.org/officeDocument/2006/relationships/slideLayout" Target="../slideLayouts/slideLayout70.xml"/><Relationship Id="rId56" Type="http://schemas.openxmlformats.org/officeDocument/2006/relationships/slideLayout" Target="../slideLayouts/slideLayout78.xml"/><Relationship Id="rId64" Type="http://schemas.openxmlformats.org/officeDocument/2006/relationships/slideLayout" Target="../slideLayouts/slideLayout86.xml"/><Relationship Id="rId69" Type="http://schemas.openxmlformats.org/officeDocument/2006/relationships/slideLayout" Target="../slideLayouts/slideLayout91.xml"/><Relationship Id="rId8" Type="http://schemas.openxmlformats.org/officeDocument/2006/relationships/slideLayout" Target="../slideLayouts/slideLayout30.xml"/><Relationship Id="rId51" Type="http://schemas.openxmlformats.org/officeDocument/2006/relationships/slideLayout" Target="../slideLayouts/slideLayout73.xml"/><Relationship Id="rId72" Type="http://schemas.openxmlformats.org/officeDocument/2006/relationships/tags" Target="../tags/tag1.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38" Type="http://schemas.openxmlformats.org/officeDocument/2006/relationships/slideLayout" Target="../slideLayouts/slideLayout60.xml"/><Relationship Id="rId46" Type="http://schemas.openxmlformats.org/officeDocument/2006/relationships/slideLayout" Target="../slideLayouts/slideLayout68.xml"/><Relationship Id="rId59" Type="http://schemas.openxmlformats.org/officeDocument/2006/relationships/slideLayout" Target="../slideLayouts/slideLayout81.xml"/><Relationship Id="rId67" Type="http://schemas.openxmlformats.org/officeDocument/2006/relationships/slideLayout" Target="../slideLayouts/slideLayout89.xml"/><Relationship Id="rId20" Type="http://schemas.openxmlformats.org/officeDocument/2006/relationships/slideLayout" Target="../slideLayouts/slideLayout42.xml"/><Relationship Id="rId41" Type="http://schemas.openxmlformats.org/officeDocument/2006/relationships/slideLayout" Target="../slideLayouts/slideLayout63.xml"/><Relationship Id="rId54" Type="http://schemas.openxmlformats.org/officeDocument/2006/relationships/slideLayout" Target="../slideLayouts/slideLayout76.xml"/><Relationship Id="rId62" Type="http://schemas.openxmlformats.org/officeDocument/2006/relationships/slideLayout" Target="../slideLayouts/slideLayout84.xml"/><Relationship Id="rId70"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vmlDrawing" Target="../drawings/vmlDrawing19.v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4.xml"/><Relationship Id="rId2" Type="http://schemas.openxmlformats.org/officeDocument/2006/relationships/slideLayout" Target="../slideLayouts/slideLayout93.xml"/><Relationship Id="rId16" Type="http://schemas.openxmlformats.org/officeDocument/2006/relationships/image" Target="../media/image1.emf"/><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oleObject" Target="../embeddings/oleObject1.bin"/><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ags" Target="../tags/tag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175F61-4C49-4242-9A23-962E73BF9FB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19A9DAC-3F76-4342-887D-2D6A5D249C0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D1CABC-B2D1-4365-913C-187E600B58E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1BEF0D-F0BB-DE4B-95CE-6DB70DBA9567}" type="datetimeFigureOut">
              <a:rPr lang="en-US" smtClean="0"/>
              <a:pPr/>
              <a:t>1/23/2020</a:t>
            </a:fld>
            <a:endParaRPr lang="en-US" dirty="0"/>
          </a:p>
        </p:txBody>
      </p:sp>
      <p:sp>
        <p:nvSpPr>
          <p:cNvPr id="5" name="Footer Placeholder 4">
            <a:extLst>
              <a:ext uri="{FF2B5EF4-FFF2-40B4-BE49-F238E27FC236}">
                <a16:creationId xmlns:a16="http://schemas.microsoft.com/office/drawing/2014/main" id="{BB37EA58-04D4-4456-8513-5EF92F374B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17274A31-C157-4329-A602-20D57FF49F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317953091"/>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EBCFD965-A48A-403D-A653-D1771C0A7E6E}" type="datetimeFigureOut">
              <a:rPr lang="en-US" smtClean="0"/>
              <a:t>1/23/2020</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3193C358-11DB-44D9-9AD8-6D6CEC7C5C40}"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9624173"/>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9"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718348758"/>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78" r:id="rId35"/>
    <p:sldLayoutId id="2147483779" r:id="rId36"/>
    <p:sldLayoutId id="2147483780" r:id="rId37"/>
    <p:sldLayoutId id="2147483781" r:id="rId38"/>
    <p:sldLayoutId id="2147483782" r:id="rId39"/>
    <p:sldLayoutId id="2147483783" r:id="rId40"/>
    <p:sldLayoutId id="2147483784" r:id="rId41"/>
    <p:sldLayoutId id="2147483785" r:id="rId42"/>
    <p:sldLayoutId id="2147483786" r:id="rId43"/>
    <p:sldLayoutId id="2147483787" r:id="rId44"/>
    <p:sldLayoutId id="2147483788" r:id="rId45"/>
    <p:sldLayoutId id="2147483789" r:id="rId46"/>
    <p:sldLayoutId id="2147483790" r:id="rId47"/>
    <p:sldLayoutId id="2147483791" r:id="rId48"/>
    <p:sldLayoutId id="2147483792" r:id="rId49"/>
    <p:sldLayoutId id="2147483793" r:id="rId50"/>
    <p:sldLayoutId id="2147483794" r:id="rId51"/>
    <p:sldLayoutId id="2147483795" r:id="rId52"/>
    <p:sldLayoutId id="2147483796" r:id="rId53"/>
    <p:sldLayoutId id="2147483797" r:id="rId54"/>
    <p:sldLayoutId id="2147483798" r:id="rId55"/>
    <p:sldLayoutId id="2147483799" r:id="rId56"/>
    <p:sldLayoutId id="2147483800" r:id="rId57"/>
    <p:sldLayoutId id="2147483801" r:id="rId58"/>
    <p:sldLayoutId id="2147483802" r:id="rId59"/>
    <p:sldLayoutId id="2147483803" r:id="rId60"/>
    <p:sldLayoutId id="2147483804" r:id="rId61"/>
    <p:sldLayoutId id="2147483805" r:id="rId62"/>
    <p:sldLayoutId id="2147483806" r:id="rId63"/>
    <p:sldLayoutId id="2147483807" r:id="rId64"/>
    <p:sldLayoutId id="2147483808" r:id="rId65"/>
    <p:sldLayoutId id="2147483809" r:id="rId66"/>
    <p:sldLayoutId id="2147483810" r:id="rId67"/>
    <p:sldLayoutId id="2147483823" r:id="rId68"/>
    <p:sldLayoutId id="2147483824"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2231136" y="964692"/>
            <a:ext cx="772972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231136" y="2638044"/>
            <a:ext cx="7729728" cy="310198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821429" y="6238816"/>
            <a:ext cx="2753746" cy="323968"/>
          </a:xfrm>
          <a:prstGeom prst="rect">
            <a:avLst/>
          </a:prstGeom>
        </p:spPr>
        <p:txBody>
          <a:bodyPr vert="horz" lIns="91440" tIns="45720" rIns="91440" bIns="45720" rtlCol="0" anchor="ctr"/>
          <a:lstStyle>
            <a:lvl1pPr algn="r">
              <a:defRPr sz="1050">
                <a:solidFill>
                  <a:schemeClr val="tx1">
                    <a:alpha val="70000"/>
                  </a:schemeClr>
                </a:solidFill>
              </a:defRPr>
            </a:lvl1pPr>
          </a:lstStyle>
          <a:p>
            <a:fld id="{B61BEF0D-F0BB-DE4B-95CE-6DB70DBA9567}" type="datetimeFigureOut">
              <a:rPr lang="en-US" smtClean="0"/>
              <a:pPr/>
              <a:t>1/23/2020</a:t>
            </a:fld>
            <a:endParaRPr lang="en-US" dirty="0"/>
          </a:p>
        </p:txBody>
      </p:sp>
      <p:sp>
        <p:nvSpPr>
          <p:cNvPr id="5" name="Footer Placeholder 4"/>
          <p:cNvSpPr>
            <a:spLocks noGrp="1"/>
          </p:cNvSpPr>
          <p:nvPr>
            <p:ph type="ftr" sz="quarter" idx="3"/>
          </p:nvPr>
        </p:nvSpPr>
        <p:spPr>
          <a:xfrm>
            <a:off x="1600200" y="6236208"/>
            <a:ext cx="5901189" cy="320040"/>
          </a:xfrm>
          <a:prstGeom prst="rect">
            <a:avLst/>
          </a:prstGeom>
        </p:spPr>
        <p:txBody>
          <a:bodyPr vert="horz" lIns="91440" tIns="45720" rIns="91440" bIns="45720" rtlCol="0" anchor="ctr"/>
          <a:lstStyle>
            <a:lvl1pPr algn="l">
              <a:defRPr sz="1050">
                <a:solidFill>
                  <a:schemeClr val="tx1">
                    <a:alpha val="70000"/>
                  </a:schemeClr>
                </a:solidFill>
              </a:defRPr>
            </a:lvl1pPr>
          </a:lstStyle>
          <a:p>
            <a:endParaRPr lang="en-US" dirty="0"/>
          </a:p>
        </p:txBody>
      </p:sp>
      <p:sp>
        <p:nvSpPr>
          <p:cNvPr id="6" name="Slide Number Placeholder 5"/>
          <p:cNvSpPr>
            <a:spLocks noGrp="1"/>
          </p:cNvSpPr>
          <p:nvPr>
            <p:ph type="sldNum" sz="quarter" idx="4"/>
          </p:nvPr>
        </p:nvSpPr>
        <p:spPr>
          <a:xfrm>
            <a:off x="10758922" y="6217920"/>
            <a:ext cx="365760" cy="365760"/>
          </a:xfrm>
          <a:prstGeom prst="ellipse">
            <a:avLst/>
          </a:prstGeom>
          <a:solidFill>
            <a:srgbClr val="1D1D1D">
              <a:alpha val="70000"/>
            </a:srgbClr>
          </a:solidFill>
        </p:spPr>
        <p:txBody>
          <a:bodyPr vert="horz" lIns="18288" tIns="45720" rIns="18288" bIns="45720" rtlCol="0" anchor="ctr">
            <a:noAutofit/>
          </a:bodyPr>
          <a:lstStyle>
            <a:lvl1pPr algn="ctr">
              <a:defRPr sz="1100" spc="0" baseline="0">
                <a:solidFill>
                  <a:srgbClr val="FFFFFF"/>
                </a:solidFill>
              </a:defRPr>
            </a:lvl1pPr>
          </a:lstStyle>
          <a:p>
            <a:fld id="{D57F1E4F-1CFF-5643-939E-217C01CDF565}" type="slidenum">
              <a:rPr lang="en-US" smtClean="0"/>
              <a:pPr/>
              <a:t>‹#›</a:t>
            </a:fld>
            <a:endParaRPr lang="en-US" dirty="0"/>
          </a:p>
        </p:txBody>
      </p:sp>
      <p:graphicFrame>
        <p:nvGraphicFramePr>
          <p:cNvPr id="7" name="Object 6" hidden="1">
            <a:extLst>
              <a:ext uri="{FF2B5EF4-FFF2-40B4-BE49-F238E27FC236}">
                <a16:creationId xmlns:a16="http://schemas.microsoft.com/office/drawing/2014/main" id="{7660C49C-0979-48DF-A5C2-9DAD434C9E7F}"/>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3" name="think-cell Slide" r:id="rId15" imgW="270" imgH="270" progId="TCLayout.ActiveDocument.1">
                  <p:embed/>
                </p:oleObj>
              </mc:Choice>
              <mc:Fallback>
                <p:oleObj name="think-cell Slide" r:id="rId15" imgW="270" imgH="270" progId="TCLayout.ActiveDocument.1">
                  <p:embed/>
                  <p:pic>
                    <p:nvPicPr>
                      <p:cNvPr id="2" name="Object 1"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6B904AC7-5706-4E57-A107-FA0856D57DFE}"/>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96458478"/>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gif"/><Relationship Id="rId7" Type="http://schemas.openxmlformats.org/officeDocument/2006/relationships/image" Target="../media/image14.png"/><Relationship Id="rId2" Type="http://schemas.openxmlformats.org/officeDocument/2006/relationships/image" Target="../media/image10.tiff"/><Relationship Id="rId1" Type="http://schemas.openxmlformats.org/officeDocument/2006/relationships/slideLayout" Target="../slideLayouts/slideLayout19.xml"/><Relationship Id="rId6" Type="http://schemas.openxmlformats.org/officeDocument/2006/relationships/image" Target="cid:image005.png@01D584DB.85109B60" TargetMode="External"/><Relationship Id="rId5" Type="http://schemas.openxmlformats.org/officeDocument/2006/relationships/image" Target="../media/image13.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13.xml"/><Relationship Id="rId4" Type="http://schemas.openxmlformats.org/officeDocument/2006/relationships/image" Target="../media/image50.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17.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png"/><Relationship Id="rId1" Type="http://schemas.openxmlformats.org/officeDocument/2006/relationships/slideLayout" Target="../slideLayouts/slideLayout13.xml"/><Relationship Id="rId4" Type="http://schemas.openxmlformats.org/officeDocument/2006/relationships/image" Target="../media/image53.png"/></Relationships>
</file>

<file path=ppt/slides/_rels/slide18.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cid:image005.png@01D584DB.85109B60" TargetMode="External"/><Relationship Id="rId7" Type="http://schemas.openxmlformats.org/officeDocument/2006/relationships/image" Target="../media/image57.pn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9.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image" Target="../media/image59.png"/><Relationship Id="rId1" Type="http://schemas.openxmlformats.org/officeDocument/2006/relationships/slideLayout" Target="../slideLayouts/slideLayout13.xml"/><Relationship Id="rId5" Type="http://schemas.openxmlformats.org/officeDocument/2006/relationships/image" Target="../media/image11.gif"/><Relationship Id="rId4" Type="http://schemas.openxmlformats.org/officeDocument/2006/relationships/image" Target="../media/image61.jpg"/></Relationships>
</file>

<file path=ppt/slides/_rels/slide2.xml.rels><?xml version="1.0" encoding="UTF-8" standalone="yes"?>
<Relationships xmlns="http://schemas.openxmlformats.org/package/2006/relationships"><Relationship Id="rId8" Type="http://schemas.openxmlformats.org/officeDocument/2006/relationships/image" Target="../media/image22.jpg"/><Relationship Id="rId13" Type="http://schemas.openxmlformats.org/officeDocument/2006/relationships/image" Target="../media/image27.jpg"/><Relationship Id="rId3" Type="http://schemas.openxmlformats.org/officeDocument/2006/relationships/image" Target="../media/image17.jpeg"/><Relationship Id="rId7" Type="http://schemas.openxmlformats.org/officeDocument/2006/relationships/image" Target="../media/image21.jpeg"/><Relationship Id="rId12" Type="http://schemas.openxmlformats.org/officeDocument/2006/relationships/image" Target="../media/image26.jpeg"/><Relationship Id="rId2" Type="http://schemas.openxmlformats.org/officeDocument/2006/relationships/image" Target="../media/image16.JPG"/><Relationship Id="rId1" Type="http://schemas.openxmlformats.org/officeDocument/2006/relationships/slideLayout" Target="../slideLayouts/slideLayout13.xml"/><Relationship Id="rId6" Type="http://schemas.openxmlformats.org/officeDocument/2006/relationships/image" Target="../media/image20.JPG"/><Relationship Id="rId11" Type="http://schemas.openxmlformats.org/officeDocument/2006/relationships/image" Target="../media/image25.jpeg"/><Relationship Id="rId5" Type="http://schemas.openxmlformats.org/officeDocument/2006/relationships/image" Target="../media/image19.jpeg"/><Relationship Id="rId10" Type="http://schemas.openxmlformats.org/officeDocument/2006/relationships/image" Target="../media/image24.jpg"/><Relationship Id="rId4" Type="http://schemas.openxmlformats.org/officeDocument/2006/relationships/image" Target="../media/image18.jpeg"/><Relationship Id="rId9" Type="http://schemas.openxmlformats.org/officeDocument/2006/relationships/image" Target="../media/image23.jpg"/></Relationships>
</file>

<file path=ppt/slides/_rels/slide2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jpeg"/><Relationship Id="rId7" Type="http://schemas.openxmlformats.org/officeDocument/2006/relationships/image" Target="../media/image67.png"/><Relationship Id="rId2" Type="http://schemas.openxmlformats.org/officeDocument/2006/relationships/image" Target="../media/image63.jpg"/><Relationship Id="rId1" Type="http://schemas.openxmlformats.org/officeDocument/2006/relationships/slideLayout" Target="../slideLayouts/slideLayout13.xml"/><Relationship Id="rId6" Type="http://schemas.openxmlformats.org/officeDocument/2006/relationships/image" Target="../media/image66.png"/><Relationship Id="rId5" Type="http://schemas.openxmlformats.org/officeDocument/2006/relationships/image" Target="../media/image65.jpg"/><Relationship Id="rId4" Type="http://schemas.openxmlformats.org/officeDocument/2006/relationships/image" Target="../media/image64.png"/></Relationships>
</file>

<file path=ppt/slides/_rels/slide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hyperlink" Target="https://www.nrcs.usda.gov/wps/portal/nrcs/main/soils/health/" TargetMode="External"/><Relationship Id="rId2" Type="http://schemas.openxmlformats.org/officeDocument/2006/relationships/image" Target="../media/image38.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Layout" Target="../slideLayouts/slideLayout6.xml"/><Relationship Id="rId4" Type="http://schemas.openxmlformats.org/officeDocument/2006/relationships/image" Target="../media/image41.jpeg"/></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44.png"/></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8" name="Picture 17" descr="A picture containing map&#10;&#10;Description automatically generated">
            <a:extLst>
              <a:ext uri="{FF2B5EF4-FFF2-40B4-BE49-F238E27FC236}">
                <a16:creationId xmlns:a16="http://schemas.microsoft.com/office/drawing/2014/main" id="{4C52255C-72FC-4854-9A28-2620076BEBFF}"/>
              </a:ext>
            </a:extLst>
          </p:cNvPr>
          <p:cNvPicPr/>
          <p:nvPr/>
        </p:nvPicPr>
        <p:blipFill rotWithShape="1">
          <a:blip r:embed="rId2" cstate="print">
            <a:extLst>
              <a:ext uri="{28A0092B-C50C-407E-A947-70E740481C1C}">
                <a14:useLocalDpi xmlns:a14="http://schemas.microsoft.com/office/drawing/2010/main" val="0"/>
              </a:ext>
            </a:extLst>
          </a:blip>
          <a:srcRect l="-256" t="39401" r="256" b="43361"/>
          <a:stretch/>
        </p:blipFill>
        <p:spPr bwMode="auto">
          <a:xfrm>
            <a:off x="-13252" y="4714875"/>
            <a:ext cx="12156374" cy="2211095"/>
          </a:xfrm>
          <a:prstGeom prst="rect">
            <a:avLst/>
          </a:prstGeom>
          <a:ln>
            <a:noFill/>
          </a:ln>
          <a:extLst>
            <a:ext uri="{53640926-AAD7-44D8-BBD7-CCE9431645EC}">
              <a14:shadowObscured xmlns:a14="http://schemas.microsoft.com/office/drawing/2010/main"/>
            </a:ext>
          </a:extLst>
        </p:spPr>
      </p:pic>
      <p:sp>
        <p:nvSpPr>
          <p:cNvPr id="5" name="TextBox 4"/>
          <p:cNvSpPr txBox="1"/>
          <p:nvPr/>
        </p:nvSpPr>
        <p:spPr>
          <a:xfrm>
            <a:off x="4340812" y="1109265"/>
            <a:ext cx="7635489" cy="193899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noProof="0" dirty="0">
                <a:ln>
                  <a:noFill/>
                </a:ln>
                <a:effectLst/>
                <a:uLnTx/>
                <a:uFillTx/>
                <a:latin typeface="Palatino Linotype" panose="02040502050505030304" pitchFamily="18" charset="0"/>
                <a:cs typeface="Arial" panose="020B0604020202020204" pitchFamily="34" charset="0"/>
              </a:rPr>
              <a:t>Linking Soil and Watershed Health to In-Field and Edge-of-Field Water Management</a:t>
            </a:r>
            <a:endParaRPr kumimoji="0" lang="en-US" sz="4000" b="0" i="0" u="none" strike="noStrike" kern="1200" cap="none" spc="0" normalizeH="0" noProof="0" dirty="0">
              <a:ln>
                <a:noFill/>
              </a:ln>
              <a:effectLst/>
              <a:uLnTx/>
              <a:uFillTx/>
              <a:latin typeface="Palatino Linotype" panose="02040502050505030304" pitchFamily="18" charset="0"/>
              <a:cs typeface="Arial" panose="020B0604020202020204" pitchFamily="34" charset="0"/>
            </a:endParaRPr>
          </a:p>
        </p:txBody>
      </p:sp>
      <p:sp>
        <p:nvSpPr>
          <p:cNvPr id="4" name="TextBox 3"/>
          <p:cNvSpPr txBox="1"/>
          <p:nvPr/>
        </p:nvSpPr>
        <p:spPr>
          <a:xfrm>
            <a:off x="6096000" y="3528256"/>
            <a:ext cx="4134288" cy="101566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tx1">
                    <a:lumMod val="65000"/>
                    <a:lumOff val="35000"/>
                  </a:schemeClr>
                </a:solidFill>
                <a:effectLst/>
                <a:uLnTx/>
                <a:uFillTx/>
                <a:latin typeface="Palatino Linotype" panose="02040502050505030304" pitchFamily="18" charset="0"/>
                <a:ea typeface="Calibri" charset="0"/>
                <a:cs typeface="Calibri" charset="0"/>
              </a:rPr>
              <a:t>January 23-24, 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lumMod val="65000"/>
                    <a:lumOff val="35000"/>
                  </a:schemeClr>
                </a:solidFill>
                <a:effectLst/>
                <a:uLnTx/>
                <a:uFillTx/>
                <a:latin typeface="Palatino Linotype" panose="02040502050505030304" pitchFamily="18" charset="0"/>
                <a:ea typeface="Calibri" charset="0"/>
                <a:cs typeface="Calibri" charset="0"/>
              </a:rPr>
              <a:t>Erickson Alumni Center, WVU</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lumMod val="65000"/>
                    <a:lumOff val="35000"/>
                  </a:schemeClr>
                </a:solidFill>
                <a:effectLst/>
                <a:uLnTx/>
                <a:uFillTx/>
                <a:latin typeface="Palatino Linotype" panose="02040502050505030304" pitchFamily="18" charset="0"/>
                <a:ea typeface="Calibri" charset="0"/>
                <a:cs typeface="Calibri" charset="0"/>
              </a:rPr>
              <a:t>Morgantown, WV</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50" y="4731625"/>
            <a:ext cx="1555710" cy="1697139"/>
          </a:xfrm>
          <a:prstGeom prst="rect">
            <a:avLst/>
          </a:prstGeom>
        </p:spPr>
      </p:pic>
      <p:pic>
        <p:nvPicPr>
          <p:cNvPr id="19" name="Picture 18" descr="A close up of a sign&#10;&#10;Description automatically generated">
            <a:extLst>
              <a:ext uri="{FF2B5EF4-FFF2-40B4-BE49-F238E27FC236}">
                <a16:creationId xmlns:a16="http://schemas.microsoft.com/office/drawing/2014/main" id="{8CC99CF0-81D9-40ED-91F7-C28298842D45}"/>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5462460" y="6197605"/>
            <a:ext cx="3648075" cy="553085"/>
          </a:xfrm>
          <a:prstGeom prst="rect">
            <a:avLst/>
          </a:prstGeom>
        </p:spPr>
      </p:pic>
      <p:pic>
        <p:nvPicPr>
          <p:cNvPr id="24" name="Picture 23" descr="Image result for the nature conservancy logo">
            <a:extLst>
              <a:ext uri="{FF2B5EF4-FFF2-40B4-BE49-F238E27FC236}">
                <a16:creationId xmlns:a16="http://schemas.microsoft.com/office/drawing/2014/main" id="{E2462C10-1178-4A41-A525-B3A374A2C10D}"/>
              </a:ext>
            </a:extLst>
          </p:cNvPr>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2528760" y="4874262"/>
            <a:ext cx="2933700" cy="2933700"/>
          </a:xfrm>
          <a:prstGeom prst="rect">
            <a:avLst/>
          </a:prstGeom>
          <a:noFill/>
          <a:ln>
            <a:noFill/>
          </a:ln>
        </p:spPr>
      </p:pic>
      <p:pic>
        <p:nvPicPr>
          <p:cNvPr id="25" name="Picture 24" descr="Project Profile">
            <a:extLst>
              <a:ext uri="{FF2B5EF4-FFF2-40B4-BE49-F238E27FC236}">
                <a16:creationId xmlns:a16="http://schemas.microsoft.com/office/drawing/2014/main" id="{60AB1010-3F0A-4E8C-9326-CD1AAAA92654}"/>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9394593" y="5823937"/>
            <a:ext cx="2133600" cy="981075"/>
          </a:xfrm>
          <a:prstGeom prst="rect">
            <a:avLst/>
          </a:prstGeom>
          <a:noFill/>
          <a:ln>
            <a:noFill/>
          </a:ln>
        </p:spPr>
      </p:pic>
      <p:pic>
        <p:nvPicPr>
          <p:cNvPr id="3" name="Picture 2" descr="A close up of a sign&#10;&#10;Description automatically generated">
            <a:extLst>
              <a:ext uri="{FF2B5EF4-FFF2-40B4-BE49-F238E27FC236}">
                <a16:creationId xmlns:a16="http://schemas.microsoft.com/office/drawing/2014/main" id="{A5E5D60C-BFAE-466C-AC44-98C1B059B9E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15267" y="4938499"/>
            <a:ext cx="3042749" cy="875611"/>
          </a:xfrm>
          <a:prstGeom prst="rect">
            <a:avLst/>
          </a:prstGeom>
        </p:spPr>
      </p:pic>
      <p:sp>
        <p:nvSpPr>
          <p:cNvPr id="11" name="TextBox 10">
            <a:extLst>
              <a:ext uri="{FF2B5EF4-FFF2-40B4-BE49-F238E27FC236}">
                <a16:creationId xmlns:a16="http://schemas.microsoft.com/office/drawing/2014/main" id="{DB697A4E-562C-4F3B-9AEA-59C40B34EC2D}"/>
              </a:ext>
            </a:extLst>
          </p:cNvPr>
          <p:cNvSpPr txBox="1"/>
          <p:nvPr/>
        </p:nvSpPr>
        <p:spPr>
          <a:xfrm rot="20226424">
            <a:off x="-210933" y="1977632"/>
            <a:ext cx="4520242" cy="1077218"/>
          </a:xfrm>
          <a:prstGeom prst="rect">
            <a:avLst/>
          </a:prstGeom>
          <a:noFill/>
        </p:spPr>
        <p:txBody>
          <a:bodyPr wrap="square" rtlCol="0">
            <a:spAutoFit/>
          </a:bodyPr>
          <a:lstStyle/>
          <a:p>
            <a:pPr algn="ctr"/>
            <a:r>
              <a:rPr lang="en-US" sz="3200" b="1" dirty="0">
                <a:solidFill>
                  <a:srgbClr val="F5F7A3"/>
                </a:solidFill>
                <a:latin typeface="Lucida Handwriting" panose="03010101010101010101" pitchFamily="66" charset="0"/>
              </a:rPr>
              <a:t>Welcome and Thank You!</a:t>
            </a:r>
          </a:p>
        </p:txBody>
      </p:sp>
      <p:sp>
        <p:nvSpPr>
          <p:cNvPr id="12" name="TextBox 11">
            <a:extLst>
              <a:ext uri="{FF2B5EF4-FFF2-40B4-BE49-F238E27FC236}">
                <a16:creationId xmlns:a16="http://schemas.microsoft.com/office/drawing/2014/main" id="{FF55FB47-6BC9-4B22-8078-9B8D2F6052EA}"/>
              </a:ext>
            </a:extLst>
          </p:cNvPr>
          <p:cNvSpPr txBox="1"/>
          <p:nvPr/>
        </p:nvSpPr>
        <p:spPr>
          <a:xfrm>
            <a:off x="6096000" y="242489"/>
            <a:ext cx="4134288"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tx1">
                    <a:lumMod val="65000"/>
                    <a:lumOff val="35000"/>
                  </a:schemeClr>
                </a:solidFill>
                <a:effectLst/>
                <a:uLnTx/>
                <a:uFillTx/>
                <a:latin typeface="Palatino Linotype" panose="02040502050505030304" pitchFamily="18" charset="0"/>
                <a:ea typeface="Calibri" charset="0"/>
                <a:cs typeface="Calibri" charset="0"/>
              </a:rPr>
              <a:t>Convening Event:</a:t>
            </a:r>
            <a:endParaRPr kumimoji="0" lang="en-US" sz="1800" b="0" i="0" u="none" strike="noStrike" kern="1200" cap="none" spc="0" normalizeH="0" baseline="0" noProof="0" dirty="0">
              <a:ln>
                <a:noFill/>
              </a:ln>
              <a:solidFill>
                <a:schemeClr val="tx1">
                  <a:lumMod val="65000"/>
                  <a:lumOff val="35000"/>
                </a:schemeClr>
              </a:solidFill>
              <a:effectLst/>
              <a:uLnTx/>
              <a:uFillTx/>
              <a:latin typeface="Palatino Linotype" panose="02040502050505030304" pitchFamily="18" charset="0"/>
              <a:ea typeface="Calibri" charset="0"/>
              <a:cs typeface="Calibri" charset="0"/>
            </a:endParaRPr>
          </a:p>
        </p:txBody>
      </p:sp>
    </p:spTree>
    <p:extLst>
      <p:ext uri="{BB962C8B-B14F-4D97-AF65-F5344CB8AC3E}">
        <p14:creationId xmlns:p14="http://schemas.microsoft.com/office/powerpoint/2010/main" val="3537085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CA4C87-6780-4740-B881-0F47E2771A30}"/>
              </a:ext>
            </a:extLst>
          </p:cNvPr>
          <p:cNvPicPr>
            <a:picLocks noChangeAspect="1"/>
          </p:cNvPicPr>
          <p:nvPr/>
        </p:nvPicPr>
        <p:blipFill rotWithShape="1">
          <a:blip r:embed="rId2"/>
          <a:srcRect l="61327" t="381" r="3861" b="74991"/>
          <a:stretch/>
        </p:blipFill>
        <p:spPr>
          <a:xfrm rot="20610611">
            <a:off x="428961" y="2066515"/>
            <a:ext cx="1743701" cy="1932670"/>
          </a:xfrm>
          <a:custGeom>
            <a:avLst/>
            <a:gdLst>
              <a:gd name="connsiteX0" fmla="*/ 1877220 w 1877220"/>
              <a:gd name="connsiteY0" fmla="*/ 0 h 1568450"/>
              <a:gd name="connsiteX1" fmla="*/ 1877220 w 1877220"/>
              <a:gd name="connsiteY1" fmla="*/ 1568450 h 1568450"/>
              <a:gd name="connsiteX2" fmla="*/ 1198277 w 1877220"/>
              <a:gd name="connsiteY2" fmla="*/ 1568450 h 1568450"/>
              <a:gd name="connsiteX3" fmla="*/ 1188748 w 1877220"/>
              <a:gd name="connsiteY3" fmla="*/ 1568450 h 1568450"/>
              <a:gd name="connsiteX4" fmla="*/ 1180807 w 1877220"/>
              <a:gd name="connsiteY4" fmla="*/ 1566069 h 1568450"/>
              <a:gd name="connsiteX5" fmla="*/ 1173660 w 1877220"/>
              <a:gd name="connsiteY5" fmla="*/ 1565275 h 1568450"/>
              <a:gd name="connsiteX6" fmla="*/ 1168896 w 1877220"/>
              <a:gd name="connsiteY6" fmla="*/ 1561306 h 1568450"/>
              <a:gd name="connsiteX7" fmla="*/ 1164131 w 1877220"/>
              <a:gd name="connsiteY7" fmla="*/ 1558131 h 1568450"/>
              <a:gd name="connsiteX8" fmla="*/ 1160161 w 1877220"/>
              <a:gd name="connsiteY8" fmla="*/ 1554163 h 1568450"/>
              <a:gd name="connsiteX9" fmla="*/ 1157779 w 1877220"/>
              <a:gd name="connsiteY9" fmla="*/ 1549400 h 1568450"/>
              <a:gd name="connsiteX10" fmla="*/ 1157197 w 1877220"/>
              <a:gd name="connsiteY10" fmla="*/ 1545912 h 1568450"/>
              <a:gd name="connsiteX11" fmla="*/ 1159366 w 1877220"/>
              <a:gd name="connsiteY11" fmla="*/ 1540131 h 1568450"/>
              <a:gd name="connsiteX12" fmla="*/ 1162543 w 1877220"/>
              <a:gd name="connsiteY12" fmla="*/ 1535371 h 1568450"/>
              <a:gd name="connsiteX13" fmla="*/ 1167307 w 1877220"/>
              <a:gd name="connsiteY13" fmla="*/ 1529817 h 1568450"/>
              <a:gd name="connsiteX14" fmla="*/ 1173660 w 1877220"/>
              <a:gd name="connsiteY14" fmla="*/ 1525056 h 1568450"/>
              <a:gd name="connsiteX15" fmla="*/ 1180806 w 1877220"/>
              <a:gd name="connsiteY15" fmla="*/ 1520296 h 1568450"/>
              <a:gd name="connsiteX16" fmla="*/ 1188747 w 1877220"/>
              <a:gd name="connsiteY16" fmla="*/ 1515535 h 1568450"/>
              <a:gd name="connsiteX17" fmla="*/ 1198276 w 1877220"/>
              <a:gd name="connsiteY17" fmla="*/ 1509188 h 1568450"/>
              <a:gd name="connsiteX18" fmla="*/ 1208599 w 1877220"/>
              <a:gd name="connsiteY18" fmla="*/ 1502047 h 1568450"/>
              <a:gd name="connsiteX19" fmla="*/ 1220511 w 1877220"/>
              <a:gd name="connsiteY19" fmla="*/ 1491733 h 1568450"/>
              <a:gd name="connsiteX20" fmla="*/ 1226863 w 1877220"/>
              <a:gd name="connsiteY20" fmla="*/ 1484592 h 1568450"/>
              <a:gd name="connsiteX21" fmla="*/ 1232422 w 1877220"/>
              <a:gd name="connsiteY21" fmla="*/ 1477451 h 1568450"/>
              <a:gd name="connsiteX22" fmla="*/ 1237187 w 1877220"/>
              <a:gd name="connsiteY22" fmla="*/ 1468724 h 1568450"/>
              <a:gd name="connsiteX23" fmla="*/ 1241951 w 1877220"/>
              <a:gd name="connsiteY23" fmla="*/ 1459203 h 1568450"/>
              <a:gd name="connsiteX24" fmla="*/ 1246716 w 1877220"/>
              <a:gd name="connsiteY24" fmla="*/ 1448888 h 1568450"/>
              <a:gd name="connsiteX25" fmla="*/ 1249098 w 1877220"/>
              <a:gd name="connsiteY25" fmla="*/ 1438574 h 1568450"/>
              <a:gd name="connsiteX26" fmla="*/ 1251480 w 1877220"/>
              <a:gd name="connsiteY26" fmla="*/ 1426673 h 1568450"/>
              <a:gd name="connsiteX27" fmla="*/ 1253068 w 1877220"/>
              <a:gd name="connsiteY27" fmla="*/ 1413185 h 1568450"/>
              <a:gd name="connsiteX28" fmla="*/ 1252390 w 1877220"/>
              <a:gd name="connsiteY28" fmla="*/ 1406741 h 1568450"/>
              <a:gd name="connsiteX29" fmla="*/ 1253069 w 1877220"/>
              <a:gd name="connsiteY29" fmla="*/ 1400969 h 1568450"/>
              <a:gd name="connsiteX30" fmla="*/ 1251480 w 1877220"/>
              <a:gd name="connsiteY30" fmla="*/ 1385888 h 1568450"/>
              <a:gd name="connsiteX31" fmla="*/ 1249098 w 1877220"/>
              <a:gd name="connsiteY31" fmla="*/ 1371600 h 1568450"/>
              <a:gd name="connsiteX32" fmla="*/ 1244334 w 1877220"/>
              <a:gd name="connsiteY32" fmla="*/ 1357313 h 1568450"/>
              <a:gd name="connsiteX33" fmla="*/ 1238775 w 1877220"/>
              <a:gd name="connsiteY33" fmla="*/ 1343819 h 1568450"/>
              <a:gd name="connsiteX34" fmla="*/ 1230040 w 1877220"/>
              <a:gd name="connsiteY34" fmla="*/ 1331119 h 1568450"/>
              <a:gd name="connsiteX35" fmla="*/ 1222099 w 1877220"/>
              <a:gd name="connsiteY35" fmla="*/ 1319213 h 1568450"/>
              <a:gd name="connsiteX36" fmla="*/ 1210982 w 1877220"/>
              <a:gd name="connsiteY36" fmla="*/ 1308894 h 1568450"/>
              <a:gd name="connsiteX37" fmla="*/ 1199071 w 1877220"/>
              <a:gd name="connsiteY37" fmla="*/ 1297781 h 1568450"/>
              <a:gd name="connsiteX38" fmla="*/ 1186366 w 1877220"/>
              <a:gd name="connsiteY38" fmla="*/ 1288256 h 1568450"/>
              <a:gd name="connsiteX39" fmla="*/ 1172072 w 1877220"/>
              <a:gd name="connsiteY39" fmla="*/ 1280319 h 1568450"/>
              <a:gd name="connsiteX40" fmla="*/ 1156984 w 1877220"/>
              <a:gd name="connsiteY40" fmla="*/ 1273175 h 1568450"/>
              <a:gd name="connsiteX41" fmla="*/ 1141103 w 1877220"/>
              <a:gd name="connsiteY41" fmla="*/ 1266031 h 1568450"/>
              <a:gd name="connsiteX42" fmla="*/ 1124427 w 1877220"/>
              <a:gd name="connsiteY42" fmla="*/ 1261269 h 1568450"/>
              <a:gd name="connsiteX43" fmla="*/ 1106957 w 1877220"/>
              <a:gd name="connsiteY43" fmla="*/ 1257300 h 1568450"/>
              <a:gd name="connsiteX44" fmla="*/ 1088693 w 1877220"/>
              <a:gd name="connsiteY44" fmla="*/ 1254919 h 1568450"/>
              <a:gd name="connsiteX45" fmla="*/ 1070429 w 1877220"/>
              <a:gd name="connsiteY45" fmla="*/ 1254919 h 1568450"/>
              <a:gd name="connsiteX46" fmla="*/ 1052165 w 1877220"/>
              <a:gd name="connsiteY46" fmla="*/ 1254919 h 1568450"/>
              <a:gd name="connsiteX47" fmla="*/ 1033107 w 1877220"/>
              <a:gd name="connsiteY47" fmla="*/ 1257300 h 1568450"/>
              <a:gd name="connsiteX48" fmla="*/ 1016432 w 1877220"/>
              <a:gd name="connsiteY48" fmla="*/ 1261269 h 1568450"/>
              <a:gd name="connsiteX49" fmla="*/ 999756 w 1877220"/>
              <a:gd name="connsiteY49" fmla="*/ 1266031 h 1568450"/>
              <a:gd name="connsiteX50" fmla="*/ 983080 w 1877220"/>
              <a:gd name="connsiteY50" fmla="*/ 1273175 h 1568450"/>
              <a:gd name="connsiteX51" fmla="*/ 967992 w 1877220"/>
              <a:gd name="connsiteY51" fmla="*/ 1280319 h 1568450"/>
              <a:gd name="connsiteX52" fmla="*/ 955287 w 1877220"/>
              <a:gd name="connsiteY52" fmla="*/ 1288256 h 1568450"/>
              <a:gd name="connsiteX53" fmla="*/ 941788 w 1877220"/>
              <a:gd name="connsiteY53" fmla="*/ 1297781 h 1568450"/>
              <a:gd name="connsiteX54" fmla="*/ 929876 w 1877220"/>
              <a:gd name="connsiteY54" fmla="*/ 1308894 h 1568450"/>
              <a:gd name="connsiteX55" fmla="*/ 919553 w 1877220"/>
              <a:gd name="connsiteY55" fmla="*/ 1319213 h 1568450"/>
              <a:gd name="connsiteX56" fmla="*/ 910024 w 1877220"/>
              <a:gd name="connsiteY56" fmla="*/ 1331119 h 1568450"/>
              <a:gd name="connsiteX57" fmla="*/ 902878 w 1877220"/>
              <a:gd name="connsiteY57" fmla="*/ 1343819 h 1568450"/>
              <a:gd name="connsiteX58" fmla="*/ 896525 w 1877220"/>
              <a:gd name="connsiteY58" fmla="*/ 1357313 h 1568450"/>
              <a:gd name="connsiteX59" fmla="*/ 891760 w 1877220"/>
              <a:gd name="connsiteY59" fmla="*/ 1371600 h 1568450"/>
              <a:gd name="connsiteX60" fmla="*/ 889378 w 1877220"/>
              <a:gd name="connsiteY60" fmla="*/ 1385888 h 1568450"/>
              <a:gd name="connsiteX61" fmla="*/ 888584 w 1877220"/>
              <a:gd name="connsiteY61" fmla="*/ 1400969 h 1568450"/>
              <a:gd name="connsiteX62" fmla="*/ 888584 w 1877220"/>
              <a:gd name="connsiteY62" fmla="*/ 1413166 h 1568450"/>
              <a:gd name="connsiteX63" fmla="*/ 888583 w 1877220"/>
              <a:gd name="connsiteY63" fmla="*/ 1413185 h 1568450"/>
              <a:gd name="connsiteX64" fmla="*/ 888583 w 1877220"/>
              <a:gd name="connsiteY64" fmla="*/ 1426673 h 1568450"/>
              <a:gd name="connsiteX65" fmla="*/ 890966 w 1877220"/>
              <a:gd name="connsiteY65" fmla="*/ 1438574 h 1568450"/>
              <a:gd name="connsiteX66" fmla="*/ 894142 w 1877220"/>
              <a:gd name="connsiteY66" fmla="*/ 1448888 h 1568450"/>
              <a:gd name="connsiteX67" fmla="*/ 898112 w 1877220"/>
              <a:gd name="connsiteY67" fmla="*/ 1459203 h 1568450"/>
              <a:gd name="connsiteX68" fmla="*/ 902877 w 1877220"/>
              <a:gd name="connsiteY68" fmla="*/ 1468724 h 1568450"/>
              <a:gd name="connsiteX69" fmla="*/ 908435 w 1877220"/>
              <a:gd name="connsiteY69" fmla="*/ 1477451 h 1568450"/>
              <a:gd name="connsiteX70" fmla="*/ 914788 w 1877220"/>
              <a:gd name="connsiteY70" fmla="*/ 1484592 h 1568450"/>
              <a:gd name="connsiteX71" fmla="*/ 920347 w 1877220"/>
              <a:gd name="connsiteY71" fmla="*/ 1491733 h 1568450"/>
              <a:gd name="connsiteX72" fmla="*/ 932258 w 1877220"/>
              <a:gd name="connsiteY72" fmla="*/ 1502047 h 1568450"/>
              <a:gd name="connsiteX73" fmla="*/ 941787 w 1877220"/>
              <a:gd name="connsiteY73" fmla="*/ 1509188 h 1568450"/>
              <a:gd name="connsiteX74" fmla="*/ 952904 w 1877220"/>
              <a:gd name="connsiteY74" fmla="*/ 1515535 h 1568450"/>
              <a:gd name="connsiteX75" fmla="*/ 960051 w 1877220"/>
              <a:gd name="connsiteY75" fmla="*/ 1520296 h 1568450"/>
              <a:gd name="connsiteX76" fmla="*/ 966404 w 1877220"/>
              <a:gd name="connsiteY76" fmla="*/ 1525056 h 1568450"/>
              <a:gd name="connsiteX77" fmla="*/ 972756 w 1877220"/>
              <a:gd name="connsiteY77" fmla="*/ 1529817 h 1568450"/>
              <a:gd name="connsiteX78" fmla="*/ 977521 w 1877220"/>
              <a:gd name="connsiteY78" fmla="*/ 1535371 h 1568450"/>
              <a:gd name="connsiteX79" fmla="*/ 980697 w 1877220"/>
              <a:gd name="connsiteY79" fmla="*/ 1540131 h 1568450"/>
              <a:gd name="connsiteX80" fmla="*/ 983079 w 1877220"/>
              <a:gd name="connsiteY80" fmla="*/ 1546479 h 1568450"/>
              <a:gd name="connsiteX81" fmla="*/ 983567 w 1877220"/>
              <a:gd name="connsiteY81" fmla="*/ 1547940 h 1568450"/>
              <a:gd name="connsiteX82" fmla="*/ 983080 w 1877220"/>
              <a:gd name="connsiteY82" fmla="*/ 1549400 h 1568450"/>
              <a:gd name="connsiteX83" fmla="*/ 980698 w 1877220"/>
              <a:gd name="connsiteY83" fmla="*/ 1554163 h 1568450"/>
              <a:gd name="connsiteX84" fmla="*/ 977521 w 1877220"/>
              <a:gd name="connsiteY84" fmla="*/ 1558131 h 1568450"/>
              <a:gd name="connsiteX85" fmla="*/ 972757 w 1877220"/>
              <a:gd name="connsiteY85" fmla="*/ 1561306 h 1568450"/>
              <a:gd name="connsiteX86" fmla="*/ 966404 w 1877220"/>
              <a:gd name="connsiteY86" fmla="*/ 1565275 h 1568450"/>
              <a:gd name="connsiteX87" fmla="*/ 960052 w 1877220"/>
              <a:gd name="connsiteY87" fmla="*/ 1566069 h 1568450"/>
              <a:gd name="connsiteX88" fmla="*/ 951317 w 1877220"/>
              <a:gd name="connsiteY88" fmla="*/ 1568450 h 1568450"/>
              <a:gd name="connsiteX89" fmla="*/ 943376 w 1877220"/>
              <a:gd name="connsiteY89" fmla="*/ 1568450 h 1568450"/>
              <a:gd name="connsiteX90" fmla="*/ 305726 w 1877220"/>
              <a:gd name="connsiteY90" fmla="*/ 1568450 h 1568450"/>
              <a:gd name="connsiteX91" fmla="*/ 305726 w 1877220"/>
              <a:gd name="connsiteY91" fmla="*/ 1134269 h 1568450"/>
              <a:gd name="connsiteX92" fmla="*/ 304138 w 1877220"/>
              <a:gd name="connsiteY92" fmla="*/ 1134269 h 1568450"/>
              <a:gd name="connsiteX93" fmla="*/ 304138 w 1877220"/>
              <a:gd name="connsiteY93" fmla="*/ 935038 h 1568450"/>
              <a:gd name="connsiteX94" fmla="*/ 304138 w 1877220"/>
              <a:gd name="connsiteY94" fmla="*/ 925513 h 1568450"/>
              <a:gd name="connsiteX95" fmla="*/ 303344 w 1877220"/>
              <a:gd name="connsiteY95" fmla="*/ 918369 h 1568450"/>
              <a:gd name="connsiteX96" fmla="*/ 300962 w 1877220"/>
              <a:gd name="connsiteY96" fmla="*/ 911225 h 1568450"/>
              <a:gd name="connsiteX97" fmla="*/ 300831 w 1877220"/>
              <a:gd name="connsiteY97" fmla="*/ 911015 h 1568450"/>
              <a:gd name="connsiteX98" fmla="*/ 300831 w 1877220"/>
              <a:gd name="connsiteY98" fmla="*/ 898185 h 1568450"/>
              <a:gd name="connsiteX99" fmla="*/ 295275 w 1877220"/>
              <a:gd name="connsiteY99" fmla="*/ 895008 h 1568450"/>
              <a:gd name="connsiteX100" fmla="*/ 288925 w 1877220"/>
              <a:gd name="connsiteY100" fmla="*/ 893420 h 1568450"/>
              <a:gd name="connsiteX101" fmla="*/ 281781 w 1877220"/>
              <a:gd name="connsiteY101" fmla="*/ 893420 h 1568450"/>
              <a:gd name="connsiteX102" fmla="*/ 281725 w 1877220"/>
              <a:gd name="connsiteY102" fmla="*/ 893438 h 1568450"/>
              <a:gd name="connsiteX103" fmla="*/ 280315 w 1877220"/>
              <a:gd name="connsiteY103" fmla="*/ 892969 h 1568450"/>
              <a:gd name="connsiteX104" fmla="*/ 275551 w 1877220"/>
              <a:gd name="connsiteY104" fmla="*/ 892969 h 1568450"/>
              <a:gd name="connsiteX105" fmla="*/ 269992 w 1877220"/>
              <a:gd name="connsiteY105" fmla="*/ 894556 h 1568450"/>
              <a:gd name="connsiteX106" fmla="*/ 265228 w 1877220"/>
              <a:gd name="connsiteY106" fmla="*/ 896938 h 1568450"/>
              <a:gd name="connsiteX107" fmla="*/ 259669 w 1877220"/>
              <a:gd name="connsiteY107" fmla="*/ 900113 h 1568450"/>
              <a:gd name="connsiteX108" fmla="*/ 254905 w 1877220"/>
              <a:gd name="connsiteY108" fmla="*/ 904081 h 1568450"/>
              <a:gd name="connsiteX109" fmla="*/ 248552 w 1877220"/>
              <a:gd name="connsiteY109" fmla="*/ 909638 h 1568450"/>
              <a:gd name="connsiteX110" fmla="*/ 243788 w 1877220"/>
              <a:gd name="connsiteY110" fmla="*/ 916781 h 1568450"/>
              <a:gd name="connsiteX111" fmla="*/ 240611 w 1877220"/>
              <a:gd name="connsiteY111" fmla="*/ 925513 h 1568450"/>
              <a:gd name="connsiteX112" fmla="*/ 234259 w 1877220"/>
              <a:gd name="connsiteY112" fmla="*/ 935831 h 1568450"/>
              <a:gd name="connsiteX113" fmla="*/ 226318 w 1877220"/>
              <a:gd name="connsiteY113" fmla="*/ 945356 h 1568450"/>
              <a:gd name="connsiteX114" fmla="*/ 215201 w 1877220"/>
              <a:gd name="connsiteY114" fmla="*/ 957263 h 1568450"/>
              <a:gd name="connsiteX115" fmla="*/ 208054 w 1877220"/>
              <a:gd name="connsiteY115" fmla="*/ 963613 h 1568450"/>
              <a:gd name="connsiteX116" fmla="*/ 200907 w 1877220"/>
              <a:gd name="connsiteY116" fmla="*/ 969169 h 1568450"/>
              <a:gd name="connsiteX117" fmla="*/ 192966 w 1877220"/>
              <a:gd name="connsiteY117" fmla="*/ 975519 h 1568450"/>
              <a:gd name="connsiteX118" fmla="*/ 183437 w 1877220"/>
              <a:gd name="connsiteY118" fmla="*/ 980281 h 1568450"/>
              <a:gd name="connsiteX119" fmla="*/ 173908 w 1877220"/>
              <a:gd name="connsiteY119" fmla="*/ 983456 h 1568450"/>
              <a:gd name="connsiteX120" fmla="*/ 161997 w 1877220"/>
              <a:gd name="connsiteY120" fmla="*/ 987425 h 1568450"/>
              <a:gd name="connsiteX121" fmla="*/ 150086 w 1877220"/>
              <a:gd name="connsiteY121" fmla="*/ 988219 h 1568450"/>
              <a:gd name="connsiteX122" fmla="*/ 139535 w 1877220"/>
              <a:gd name="connsiteY122" fmla="*/ 989537 h 1568450"/>
              <a:gd name="connsiteX123" fmla="*/ 131762 w 1877220"/>
              <a:gd name="connsiteY123" fmla="*/ 988718 h 1568450"/>
              <a:gd name="connsiteX124" fmla="*/ 117475 w 1877220"/>
              <a:gd name="connsiteY124" fmla="*/ 986336 h 1568450"/>
              <a:gd name="connsiteX125" fmla="*/ 103187 w 1877220"/>
              <a:gd name="connsiteY125" fmla="*/ 981571 h 1568450"/>
              <a:gd name="connsiteX126" fmla="*/ 89693 w 1877220"/>
              <a:gd name="connsiteY126" fmla="*/ 976012 h 1568450"/>
              <a:gd name="connsiteX127" fmla="*/ 76993 w 1877220"/>
              <a:gd name="connsiteY127" fmla="*/ 967276 h 1568450"/>
              <a:gd name="connsiteX128" fmla="*/ 65087 w 1877220"/>
              <a:gd name="connsiteY128" fmla="*/ 959335 h 1568450"/>
              <a:gd name="connsiteX129" fmla="*/ 53181 w 1877220"/>
              <a:gd name="connsiteY129" fmla="*/ 948217 h 1568450"/>
              <a:gd name="connsiteX130" fmla="*/ 42068 w 1877220"/>
              <a:gd name="connsiteY130" fmla="*/ 936304 h 1568450"/>
              <a:gd name="connsiteX131" fmla="*/ 34131 w 1877220"/>
              <a:gd name="connsiteY131" fmla="*/ 923598 h 1568450"/>
              <a:gd name="connsiteX132" fmla="*/ 24606 w 1877220"/>
              <a:gd name="connsiteY132" fmla="*/ 909303 h 1568450"/>
              <a:gd name="connsiteX133" fmla="*/ 17462 w 1877220"/>
              <a:gd name="connsiteY133" fmla="*/ 895008 h 1568450"/>
              <a:gd name="connsiteX134" fmla="*/ 11906 w 1877220"/>
              <a:gd name="connsiteY134" fmla="*/ 878331 h 1568450"/>
              <a:gd name="connsiteX135" fmla="*/ 7143 w 1877220"/>
              <a:gd name="connsiteY135" fmla="*/ 861654 h 1568450"/>
              <a:gd name="connsiteX136" fmla="*/ 3175 w 1877220"/>
              <a:gd name="connsiteY136" fmla="*/ 844183 h 1568450"/>
              <a:gd name="connsiteX137" fmla="*/ 793 w 1877220"/>
              <a:gd name="connsiteY137" fmla="*/ 825917 h 1568450"/>
              <a:gd name="connsiteX138" fmla="*/ 0 w 1877220"/>
              <a:gd name="connsiteY138" fmla="*/ 808446 h 1568450"/>
              <a:gd name="connsiteX139" fmla="*/ 793 w 1877220"/>
              <a:gd name="connsiteY139" fmla="*/ 789386 h 1568450"/>
              <a:gd name="connsiteX140" fmla="*/ 3175 w 1877220"/>
              <a:gd name="connsiteY140" fmla="*/ 771915 h 1568450"/>
              <a:gd name="connsiteX141" fmla="*/ 7143 w 1877220"/>
              <a:gd name="connsiteY141" fmla="*/ 753649 h 1568450"/>
              <a:gd name="connsiteX142" fmla="*/ 11906 w 1877220"/>
              <a:gd name="connsiteY142" fmla="*/ 736972 h 1568450"/>
              <a:gd name="connsiteX143" fmla="*/ 17462 w 1877220"/>
              <a:gd name="connsiteY143" fmla="*/ 720295 h 1568450"/>
              <a:gd name="connsiteX144" fmla="*/ 24606 w 1877220"/>
              <a:gd name="connsiteY144" fmla="*/ 706000 h 1568450"/>
              <a:gd name="connsiteX145" fmla="*/ 34131 w 1877220"/>
              <a:gd name="connsiteY145" fmla="*/ 691706 h 1568450"/>
              <a:gd name="connsiteX146" fmla="*/ 42068 w 1877220"/>
              <a:gd name="connsiteY146" fmla="*/ 678999 h 1568450"/>
              <a:gd name="connsiteX147" fmla="*/ 53181 w 1877220"/>
              <a:gd name="connsiteY147" fmla="*/ 667087 h 1568450"/>
              <a:gd name="connsiteX148" fmla="*/ 65087 w 1877220"/>
              <a:gd name="connsiteY148" fmla="*/ 656763 h 1568450"/>
              <a:gd name="connsiteX149" fmla="*/ 76993 w 1877220"/>
              <a:gd name="connsiteY149" fmla="*/ 648027 h 1568450"/>
              <a:gd name="connsiteX150" fmla="*/ 89693 w 1877220"/>
              <a:gd name="connsiteY150" fmla="*/ 640086 h 1568450"/>
              <a:gd name="connsiteX151" fmla="*/ 103187 w 1877220"/>
              <a:gd name="connsiteY151" fmla="*/ 633733 h 1568450"/>
              <a:gd name="connsiteX152" fmla="*/ 117475 w 1877220"/>
              <a:gd name="connsiteY152" fmla="*/ 628968 h 1568450"/>
              <a:gd name="connsiteX153" fmla="*/ 131762 w 1877220"/>
              <a:gd name="connsiteY153" fmla="*/ 626585 h 1568450"/>
              <a:gd name="connsiteX154" fmla="*/ 144452 w 1877220"/>
              <a:gd name="connsiteY154" fmla="*/ 625916 h 1568450"/>
              <a:gd name="connsiteX155" fmla="*/ 150086 w 1877220"/>
              <a:gd name="connsiteY155" fmla="*/ 626269 h 1568450"/>
              <a:gd name="connsiteX156" fmla="*/ 161997 w 1877220"/>
              <a:gd name="connsiteY156" fmla="*/ 627856 h 1568450"/>
              <a:gd name="connsiteX157" fmla="*/ 173908 w 1877220"/>
              <a:gd name="connsiteY157" fmla="*/ 631031 h 1568450"/>
              <a:gd name="connsiteX158" fmla="*/ 183437 w 1877220"/>
              <a:gd name="connsiteY158" fmla="*/ 635000 h 1568450"/>
              <a:gd name="connsiteX159" fmla="*/ 192966 w 1877220"/>
              <a:gd name="connsiteY159" fmla="*/ 640556 h 1568450"/>
              <a:gd name="connsiteX160" fmla="*/ 200907 w 1877220"/>
              <a:gd name="connsiteY160" fmla="*/ 645319 h 1568450"/>
              <a:gd name="connsiteX161" fmla="*/ 208054 w 1877220"/>
              <a:gd name="connsiteY161" fmla="*/ 651669 h 1568450"/>
              <a:gd name="connsiteX162" fmla="*/ 215201 w 1877220"/>
              <a:gd name="connsiteY162" fmla="*/ 657225 h 1568450"/>
              <a:gd name="connsiteX163" fmla="*/ 226318 w 1877220"/>
              <a:gd name="connsiteY163" fmla="*/ 669131 h 1568450"/>
              <a:gd name="connsiteX164" fmla="*/ 234259 w 1877220"/>
              <a:gd name="connsiteY164" fmla="*/ 678656 h 1568450"/>
              <a:gd name="connsiteX165" fmla="*/ 240611 w 1877220"/>
              <a:gd name="connsiteY165" fmla="*/ 688975 h 1568450"/>
              <a:gd name="connsiteX166" fmla="*/ 243788 w 1877220"/>
              <a:gd name="connsiteY166" fmla="*/ 697706 h 1568450"/>
              <a:gd name="connsiteX167" fmla="*/ 248552 w 1877220"/>
              <a:gd name="connsiteY167" fmla="*/ 704850 h 1568450"/>
              <a:gd name="connsiteX168" fmla="*/ 254905 w 1877220"/>
              <a:gd name="connsiteY168" fmla="*/ 710406 h 1568450"/>
              <a:gd name="connsiteX169" fmla="*/ 259669 w 1877220"/>
              <a:gd name="connsiteY169" fmla="*/ 714375 h 1568450"/>
              <a:gd name="connsiteX170" fmla="*/ 265228 w 1877220"/>
              <a:gd name="connsiteY170" fmla="*/ 717550 h 1568450"/>
              <a:gd name="connsiteX171" fmla="*/ 269992 w 1877220"/>
              <a:gd name="connsiteY171" fmla="*/ 719931 h 1568450"/>
              <a:gd name="connsiteX172" fmla="*/ 275551 w 1877220"/>
              <a:gd name="connsiteY172" fmla="*/ 721519 h 1568450"/>
              <a:gd name="connsiteX173" fmla="*/ 280315 w 1877220"/>
              <a:gd name="connsiteY173" fmla="*/ 721519 h 1568450"/>
              <a:gd name="connsiteX174" fmla="*/ 280503 w 1877220"/>
              <a:gd name="connsiteY174" fmla="*/ 721456 h 1568450"/>
              <a:gd name="connsiteX175" fmla="*/ 281781 w 1877220"/>
              <a:gd name="connsiteY175" fmla="*/ 721883 h 1568450"/>
              <a:gd name="connsiteX176" fmla="*/ 288925 w 1877220"/>
              <a:gd name="connsiteY176" fmla="*/ 721883 h 1568450"/>
              <a:gd name="connsiteX177" fmla="*/ 295275 w 1877220"/>
              <a:gd name="connsiteY177" fmla="*/ 720295 h 1568450"/>
              <a:gd name="connsiteX178" fmla="*/ 300831 w 1877220"/>
              <a:gd name="connsiteY178" fmla="*/ 717119 h 1568450"/>
              <a:gd name="connsiteX179" fmla="*/ 300831 w 1877220"/>
              <a:gd name="connsiteY179" fmla="*/ 703472 h 1568450"/>
              <a:gd name="connsiteX180" fmla="*/ 300962 w 1877220"/>
              <a:gd name="connsiteY180" fmla="*/ 703263 h 1568450"/>
              <a:gd name="connsiteX181" fmla="*/ 303344 w 1877220"/>
              <a:gd name="connsiteY181" fmla="*/ 696119 h 1568450"/>
              <a:gd name="connsiteX182" fmla="*/ 304138 w 1877220"/>
              <a:gd name="connsiteY182" fmla="*/ 688975 h 1568450"/>
              <a:gd name="connsiteX183" fmla="*/ 304138 w 1877220"/>
              <a:gd name="connsiteY183" fmla="*/ 679450 h 1568450"/>
              <a:gd name="connsiteX184" fmla="*/ 304138 w 1877220"/>
              <a:gd name="connsiteY184" fmla="*/ 360363 h 1568450"/>
              <a:gd name="connsiteX185" fmla="*/ 305726 w 1877220"/>
              <a:gd name="connsiteY185" fmla="*/ 360363 h 1568450"/>
              <a:gd name="connsiteX186" fmla="*/ 305726 w 1877220"/>
              <a:gd name="connsiteY186" fmla="*/ 0 h 1568450"/>
              <a:gd name="connsiteX187" fmla="*/ 1877220 w 1877220"/>
              <a:gd name="connsiteY187" fmla="*/ 0 h 156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877220" h="1568450">
                <a:moveTo>
                  <a:pt x="1877220" y="0"/>
                </a:moveTo>
                <a:lnTo>
                  <a:pt x="1877220" y="1568450"/>
                </a:lnTo>
                <a:lnTo>
                  <a:pt x="1198277" y="1568450"/>
                </a:lnTo>
                <a:lnTo>
                  <a:pt x="1188748" y="1568450"/>
                </a:lnTo>
                <a:lnTo>
                  <a:pt x="1180807" y="1566069"/>
                </a:lnTo>
                <a:lnTo>
                  <a:pt x="1173660" y="1565275"/>
                </a:lnTo>
                <a:lnTo>
                  <a:pt x="1168896" y="1561306"/>
                </a:lnTo>
                <a:lnTo>
                  <a:pt x="1164131" y="1558131"/>
                </a:lnTo>
                <a:lnTo>
                  <a:pt x="1160161" y="1554163"/>
                </a:lnTo>
                <a:lnTo>
                  <a:pt x="1157779" y="1549400"/>
                </a:lnTo>
                <a:lnTo>
                  <a:pt x="1157197" y="1545912"/>
                </a:lnTo>
                <a:lnTo>
                  <a:pt x="1159366" y="1540131"/>
                </a:lnTo>
                <a:lnTo>
                  <a:pt x="1162543" y="1535371"/>
                </a:lnTo>
                <a:lnTo>
                  <a:pt x="1167307" y="1529817"/>
                </a:lnTo>
                <a:lnTo>
                  <a:pt x="1173660" y="1525056"/>
                </a:lnTo>
                <a:lnTo>
                  <a:pt x="1180806" y="1520296"/>
                </a:lnTo>
                <a:lnTo>
                  <a:pt x="1188747" y="1515535"/>
                </a:lnTo>
                <a:lnTo>
                  <a:pt x="1198276" y="1509188"/>
                </a:lnTo>
                <a:lnTo>
                  <a:pt x="1208599" y="1502047"/>
                </a:lnTo>
                <a:lnTo>
                  <a:pt x="1220511" y="1491733"/>
                </a:lnTo>
                <a:lnTo>
                  <a:pt x="1226863" y="1484592"/>
                </a:lnTo>
                <a:lnTo>
                  <a:pt x="1232422" y="1477451"/>
                </a:lnTo>
                <a:lnTo>
                  <a:pt x="1237187" y="1468724"/>
                </a:lnTo>
                <a:lnTo>
                  <a:pt x="1241951" y="1459203"/>
                </a:lnTo>
                <a:lnTo>
                  <a:pt x="1246716" y="1448888"/>
                </a:lnTo>
                <a:lnTo>
                  <a:pt x="1249098" y="1438574"/>
                </a:lnTo>
                <a:lnTo>
                  <a:pt x="1251480" y="1426673"/>
                </a:lnTo>
                <a:lnTo>
                  <a:pt x="1253068" y="1413185"/>
                </a:lnTo>
                <a:lnTo>
                  <a:pt x="1252390" y="1406741"/>
                </a:lnTo>
                <a:lnTo>
                  <a:pt x="1253069" y="1400969"/>
                </a:lnTo>
                <a:lnTo>
                  <a:pt x="1251480" y="1385888"/>
                </a:lnTo>
                <a:lnTo>
                  <a:pt x="1249098" y="1371600"/>
                </a:lnTo>
                <a:lnTo>
                  <a:pt x="1244334" y="1357313"/>
                </a:lnTo>
                <a:lnTo>
                  <a:pt x="1238775" y="1343819"/>
                </a:lnTo>
                <a:lnTo>
                  <a:pt x="1230040" y="1331119"/>
                </a:lnTo>
                <a:lnTo>
                  <a:pt x="1222099" y="1319213"/>
                </a:lnTo>
                <a:lnTo>
                  <a:pt x="1210982" y="1308894"/>
                </a:lnTo>
                <a:lnTo>
                  <a:pt x="1199071" y="1297781"/>
                </a:lnTo>
                <a:lnTo>
                  <a:pt x="1186366" y="1288256"/>
                </a:lnTo>
                <a:lnTo>
                  <a:pt x="1172072" y="1280319"/>
                </a:lnTo>
                <a:lnTo>
                  <a:pt x="1156984" y="1273175"/>
                </a:lnTo>
                <a:lnTo>
                  <a:pt x="1141103" y="1266031"/>
                </a:lnTo>
                <a:lnTo>
                  <a:pt x="1124427" y="1261269"/>
                </a:lnTo>
                <a:lnTo>
                  <a:pt x="1106957" y="1257300"/>
                </a:lnTo>
                <a:lnTo>
                  <a:pt x="1088693" y="1254919"/>
                </a:lnTo>
                <a:lnTo>
                  <a:pt x="1070429" y="1254919"/>
                </a:lnTo>
                <a:lnTo>
                  <a:pt x="1052165" y="1254919"/>
                </a:lnTo>
                <a:lnTo>
                  <a:pt x="1033107" y="1257300"/>
                </a:lnTo>
                <a:lnTo>
                  <a:pt x="1016432" y="1261269"/>
                </a:lnTo>
                <a:lnTo>
                  <a:pt x="999756" y="1266031"/>
                </a:lnTo>
                <a:lnTo>
                  <a:pt x="983080" y="1273175"/>
                </a:lnTo>
                <a:lnTo>
                  <a:pt x="967992" y="1280319"/>
                </a:lnTo>
                <a:lnTo>
                  <a:pt x="955287" y="1288256"/>
                </a:lnTo>
                <a:lnTo>
                  <a:pt x="941788" y="1297781"/>
                </a:lnTo>
                <a:lnTo>
                  <a:pt x="929876" y="1308894"/>
                </a:lnTo>
                <a:lnTo>
                  <a:pt x="919553" y="1319213"/>
                </a:lnTo>
                <a:lnTo>
                  <a:pt x="910024" y="1331119"/>
                </a:lnTo>
                <a:lnTo>
                  <a:pt x="902878" y="1343819"/>
                </a:lnTo>
                <a:lnTo>
                  <a:pt x="896525" y="1357313"/>
                </a:lnTo>
                <a:lnTo>
                  <a:pt x="891760" y="1371600"/>
                </a:lnTo>
                <a:lnTo>
                  <a:pt x="889378" y="1385888"/>
                </a:lnTo>
                <a:lnTo>
                  <a:pt x="888584" y="1400969"/>
                </a:lnTo>
                <a:lnTo>
                  <a:pt x="888584" y="1413166"/>
                </a:lnTo>
                <a:lnTo>
                  <a:pt x="888583" y="1413185"/>
                </a:lnTo>
                <a:lnTo>
                  <a:pt x="888583" y="1426673"/>
                </a:lnTo>
                <a:lnTo>
                  <a:pt x="890966" y="1438574"/>
                </a:lnTo>
                <a:lnTo>
                  <a:pt x="894142" y="1448888"/>
                </a:lnTo>
                <a:lnTo>
                  <a:pt x="898112" y="1459203"/>
                </a:lnTo>
                <a:lnTo>
                  <a:pt x="902877" y="1468724"/>
                </a:lnTo>
                <a:lnTo>
                  <a:pt x="908435" y="1477451"/>
                </a:lnTo>
                <a:lnTo>
                  <a:pt x="914788" y="1484592"/>
                </a:lnTo>
                <a:lnTo>
                  <a:pt x="920347" y="1491733"/>
                </a:lnTo>
                <a:lnTo>
                  <a:pt x="932258" y="1502047"/>
                </a:lnTo>
                <a:lnTo>
                  <a:pt x="941787" y="1509188"/>
                </a:lnTo>
                <a:lnTo>
                  <a:pt x="952904" y="1515535"/>
                </a:lnTo>
                <a:lnTo>
                  <a:pt x="960051" y="1520296"/>
                </a:lnTo>
                <a:lnTo>
                  <a:pt x="966404" y="1525056"/>
                </a:lnTo>
                <a:lnTo>
                  <a:pt x="972756" y="1529817"/>
                </a:lnTo>
                <a:lnTo>
                  <a:pt x="977521" y="1535371"/>
                </a:lnTo>
                <a:lnTo>
                  <a:pt x="980697" y="1540131"/>
                </a:lnTo>
                <a:lnTo>
                  <a:pt x="983079" y="1546479"/>
                </a:lnTo>
                <a:lnTo>
                  <a:pt x="983567" y="1547940"/>
                </a:lnTo>
                <a:lnTo>
                  <a:pt x="983080" y="1549400"/>
                </a:lnTo>
                <a:lnTo>
                  <a:pt x="980698" y="1554163"/>
                </a:lnTo>
                <a:lnTo>
                  <a:pt x="977521" y="1558131"/>
                </a:lnTo>
                <a:lnTo>
                  <a:pt x="972757" y="1561306"/>
                </a:lnTo>
                <a:lnTo>
                  <a:pt x="966404" y="1565275"/>
                </a:lnTo>
                <a:lnTo>
                  <a:pt x="960052" y="1566069"/>
                </a:lnTo>
                <a:lnTo>
                  <a:pt x="951317" y="1568450"/>
                </a:lnTo>
                <a:lnTo>
                  <a:pt x="943376" y="1568450"/>
                </a:lnTo>
                <a:lnTo>
                  <a:pt x="305726" y="1568450"/>
                </a:lnTo>
                <a:lnTo>
                  <a:pt x="305726" y="1134269"/>
                </a:lnTo>
                <a:lnTo>
                  <a:pt x="304138" y="1134269"/>
                </a:lnTo>
                <a:lnTo>
                  <a:pt x="304138" y="935038"/>
                </a:lnTo>
                <a:lnTo>
                  <a:pt x="304138" y="925513"/>
                </a:lnTo>
                <a:lnTo>
                  <a:pt x="303344" y="918369"/>
                </a:lnTo>
                <a:lnTo>
                  <a:pt x="300962" y="911225"/>
                </a:lnTo>
                <a:lnTo>
                  <a:pt x="300831" y="911015"/>
                </a:lnTo>
                <a:lnTo>
                  <a:pt x="300831" y="898185"/>
                </a:lnTo>
                <a:lnTo>
                  <a:pt x="295275" y="895008"/>
                </a:lnTo>
                <a:lnTo>
                  <a:pt x="288925" y="893420"/>
                </a:lnTo>
                <a:lnTo>
                  <a:pt x="281781" y="893420"/>
                </a:lnTo>
                <a:lnTo>
                  <a:pt x="281725" y="893438"/>
                </a:lnTo>
                <a:lnTo>
                  <a:pt x="280315" y="892969"/>
                </a:lnTo>
                <a:lnTo>
                  <a:pt x="275551" y="892969"/>
                </a:lnTo>
                <a:lnTo>
                  <a:pt x="269992" y="894556"/>
                </a:lnTo>
                <a:lnTo>
                  <a:pt x="265228" y="896938"/>
                </a:lnTo>
                <a:lnTo>
                  <a:pt x="259669" y="900113"/>
                </a:lnTo>
                <a:lnTo>
                  <a:pt x="254905" y="904081"/>
                </a:lnTo>
                <a:lnTo>
                  <a:pt x="248552" y="909638"/>
                </a:lnTo>
                <a:lnTo>
                  <a:pt x="243788" y="916781"/>
                </a:lnTo>
                <a:lnTo>
                  <a:pt x="240611" y="925513"/>
                </a:lnTo>
                <a:lnTo>
                  <a:pt x="234259" y="935831"/>
                </a:lnTo>
                <a:lnTo>
                  <a:pt x="226318" y="945356"/>
                </a:lnTo>
                <a:lnTo>
                  <a:pt x="215201" y="957263"/>
                </a:lnTo>
                <a:lnTo>
                  <a:pt x="208054" y="963613"/>
                </a:lnTo>
                <a:lnTo>
                  <a:pt x="200907" y="969169"/>
                </a:lnTo>
                <a:lnTo>
                  <a:pt x="192966" y="975519"/>
                </a:lnTo>
                <a:lnTo>
                  <a:pt x="183437" y="980281"/>
                </a:lnTo>
                <a:lnTo>
                  <a:pt x="173908" y="983456"/>
                </a:lnTo>
                <a:lnTo>
                  <a:pt x="161997" y="987425"/>
                </a:lnTo>
                <a:lnTo>
                  <a:pt x="150086" y="988219"/>
                </a:lnTo>
                <a:lnTo>
                  <a:pt x="139535" y="989537"/>
                </a:lnTo>
                <a:lnTo>
                  <a:pt x="131762" y="988718"/>
                </a:lnTo>
                <a:lnTo>
                  <a:pt x="117475" y="986336"/>
                </a:lnTo>
                <a:lnTo>
                  <a:pt x="103187" y="981571"/>
                </a:lnTo>
                <a:lnTo>
                  <a:pt x="89693" y="976012"/>
                </a:lnTo>
                <a:lnTo>
                  <a:pt x="76993" y="967276"/>
                </a:lnTo>
                <a:lnTo>
                  <a:pt x="65087" y="959335"/>
                </a:lnTo>
                <a:lnTo>
                  <a:pt x="53181" y="948217"/>
                </a:lnTo>
                <a:lnTo>
                  <a:pt x="42068" y="936304"/>
                </a:lnTo>
                <a:lnTo>
                  <a:pt x="34131" y="923598"/>
                </a:lnTo>
                <a:lnTo>
                  <a:pt x="24606" y="909303"/>
                </a:lnTo>
                <a:lnTo>
                  <a:pt x="17462" y="895008"/>
                </a:lnTo>
                <a:lnTo>
                  <a:pt x="11906" y="878331"/>
                </a:lnTo>
                <a:lnTo>
                  <a:pt x="7143" y="861654"/>
                </a:lnTo>
                <a:lnTo>
                  <a:pt x="3175" y="844183"/>
                </a:lnTo>
                <a:lnTo>
                  <a:pt x="793" y="825917"/>
                </a:lnTo>
                <a:lnTo>
                  <a:pt x="0" y="808446"/>
                </a:lnTo>
                <a:lnTo>
                  <a:pt x="793" y="789386"/>
                </a:lnTo>
                <a:lnTo>
                  <a:pt x="3175" y="771915"/>
                </a:lnTo>
                <a:lnTo>
                  <a:pt x="7143" y="753649"/>
                </a:lnTo>
                <a:lnTo>
                  <a:pt x="11906" y="736972"/>
                </a:lnTo>
                <a:lnTo>
                  <a:pt x="17462" y="720295"/>
                </a:lnTo>
                <a:lnTo>
                  <a:pt x="24606" y="706000"/>
                </a:lnTo>
                <a:lnTo>
                  <a:pt x="34131" y="691706"/>
                </a:lnTo>
                <a:lnTo>
                  <a:pt x="42068" y="678999"/>
                </a:lnTo>
                <a:lnTo>
                  <a:pt x="53181" y="667087"/>
                </a:lnTo>
                <a:lnTo>
                  <a:pt x="65087" y="656763"/>
                </a:lnTo>
                <a:lnTo>
                  <a:pt x="76993" y="648027"/>
                </a:lnTo>
                <a:lnTo>
                  <a:pt x="89693" y="640086"/>
                </a:lnTo>
                <a:lnTo>
                  <a:pt x="103187" y="633733"/>
                </a:lnTo>
                <a:lnTo>
                  <a:pt x="117475" y="628968"/>
                </a:lnTo>
                <a:lnTo>
                  <a:pt x="131762" y="626585"/>
                </a:lnTo>
                <a:lnTo>
                  <a:pt x="144452" y="625916"/>
                </a:lnTo>
                <a:lnTo>
                  <a:pt x="150086" y="626269"/>
                </a:lnTo>
                <a:lnTo>
                  <a:pt x="161997" y="627856"/>
                </a:lnTo>
                <a:lnTo>
                  <a:pt x="173908" y="631031"/>
                </a:lnTo>
                <a:lnTo>
                  <a:pt x="183437" y="635000"/>
                </a:lnTo>
                <a:lnTo>
                  <a:pt x="192966" y="640556"/>
                </a:lnTo>
                <a:lnTo>
                  <a:pt x="200907" y="645319"/>
                </a:lnTo>
                <a:lnTo>
                  <a:pt x="208054" y="651669"/>
                </a:lnTo>
                <a:lnTo>
                  <a:pt x="215201" y="657225"/>
                </a:lnTo>
                <a:lnTo>
                  <a:pt x="226318" y="669131"/>
                </a:lnTo>
                <a:lnTo>
                  <a:pt x="234259" y="678656"/>
                </a:lnTo>
                <a:lnTo>
                  <a:pt x="240611" y="688975"/>
                </a:lnTo>
                <a:lnTo>
                  <a:pt x="243788" y="697706"/>
                </a:lnTo>
                <a:lnTo>
                  <a:pt x="248552" y="704850"/>
                </a:lnTo>
                <a:lnTo>
                  <a:pt x="254905" y="710406"/>
                </a:lnTo>
                <a:lnTo>
                  <a:pt x="259669" y="714375"/>
                </a:lnTo>
                <a:lnTo>
                  <a:pt x="265228" y="717550"/>
                </a:lnTo>
                <a:lnTo>
                  <a:pt x="269992" y="719931"/>
                </a:lnTo>
                <a:lnTo>
                  <a:pt x="275551" y="721519"/>
                </a:lnTo>
                <a:lnTo>
                  <a:pt x="280315" y="721519"/>
                </a:lnTo>
                <a:lnTo>
                  <a:pt x="280503" y="721456"/>
                </a:lnTo>
                <a:lnTo>
                  <a:pt x="281781" y="721883"/>
                </a:lnTo>
                <a:lnTo>
                  <a:pt x="288925" y="721883"/>
                </a:lnTo>
                <a:lnTo>
                  <a:pt x="295275" y="720295"/>
                </a:lnTo>
                <a:lnTo>
                  <a:pt x="300831" y="717119"/>
                </a:lnTo>
                <a:lnTo>
                  <a:pt x="300831" y="703472"/>
                </a:lnTo>
                <a:lnTo>
                  <a:pt x="300962" y="703263"/>
                </a:lnTo>
                <a:lnTo>
                  <a:pt x="303344" y="696119"/>
                </a:lnTo>
                <a:lnTo>
                  <a:pt x="304138" y="688975"/>
                </a:lnTo>
                <a:lnTo>
                  <a:pt x="304138" y="679450"/>
                </a:lnTo>
                <a:lnTo>
                  <a:pt x="304138" y="360363"/>
                </a:lnTo>
                <a:lnTo>
                  <a:pt x="305726" y="360363"/>
                </a:lnTo>
                <a:lnTo>
                  <a:pt x="305726" y="0"/>
                </a:lnTo>
                <a:lnTo>
                  <a:pt x="1877220" y="0"/>
                </a:lnTo>
                <a:close/>
              </a:path>
            </a:pathLst>
          </a:custGeom>
          <a:ln>
            <a:solidFill>
              <a:schemeClr val="tx1">
                <a:lumMod val="50000"/>
                <a:lumOff val="50000"/>
              </a:schemeClr>
            </a:solidFill>
          </a:ln>
        </p:spPr>
      </p:pic>
      <p:pic>
        <p:nvPicPr>
          <p:cNvPr id="5" name="Picture 4">
            <a:extLst>
              <a:ext uri="{FF2B5EF4-FFF2-40B4-BE49-F238E27FC236}">
                <a16:creationId xmlns:a16="http://schemas.microsoft.com/office/drawing/2014/main" id="{D066A1FD-BA29-4729-94ED-6EC16A0F7648}"/>
              </a:ext>
            </a:extLst>
          </p:cNvPr>
          <p:cNvPicPr>
            <a:picLocks noChangeAspect="1"/>
          </p:cNvPicPr>
          <p:nvPr/>
        </p:nvPicPr>
        <p:blipFill rotWithShape="1">
          <a:blip r:embed="rId2"/>
          <a:srcRect l="61224" t="20278" r="3861" b="50108"/>
          <a:stretch/>
        </p:blipFill>
        <p:spPr>
          <a:xfrm>
            <a:off x="10326157" y="4383069"/>
            <a:ext cx="1748860" cy="2323944"/>
          </a:xfrm>
          <a:custGeom>
            <a:avLst/>
            <a:gdLst>
              <a:gd name="connsiteX0" fmla="*/ 1882776 w 1882776"/>
              <a:gd name="connsiteY0" fmla="*/ 313399 h 1885950"/>
              <a:gd name="connsiteX1" fmla="*/ 1882775 w 1882776"/>
              <a:gd name="connsiteY1" fmla="*/ 1885950 h 1885950"/>
              <a:gd name="connsiteX2" fmla="*/ 1172069 w 1882776"/>
              <a:gd name="connsiteY2" fmla="*/ 1885950 h 1885950"/>
              <a:gd name="connsiteX3" fmla="*/ 1165716 w 1882776"/>
              <a:gd name="connsiteY3" fmla="*/ 1880396 h 1885950"/>
              <a:gd name="connsiteX4" fmla="*/ 1162540 w 1882776"/>
              <a:gd name="connsiteY4" fmla="*/ 1874049 h 1885950"/>
              <a:gd name="connsiteX5" fmla="*/ 1161318 w 1882776"/>
              <a:gd name="connsiteY5" fmla="*/ 1868553 h 1885950"/>
              <a:gd name="connsiteX6" fmla="*/ 1162440 w 1882776"/>
              <a:gd name="connsiteY6" fmla="*/ 1865562 h 1885950"/>
              <a:gd name="connsiteX7" fmla="*/ 1165617 w 1882776"/>
              <a:gd name="connsiteY7" fmla="*/ 1860802 h 1885950"/>
              <a:gd name="connsiteX8" fmla="*/ 1170381 w 1882776"/>
              <a:gd name="connsiteY8" fmla="*/ 1855248 h 1885950"/>
              <a:gd name="connsiteX9" fmla="*/ 1176734 w 1882776"/>
              <a:gd name="connsiteY9" fmla="*/ 1850487 h 1885950"/>
              <a:gd name="connsiteX10" fmla="*/ 1183880 w 1882776"/>
              <a:gd name="connsiteY10" fmla="*/ 1845727 h 1885950"/>
              <a:gd name="connsiteX11" fmla="*/ 1191821 w 1882776"/>
              <a:gd name="connsiteY11" fmla="*/ 1840966 h 1885950"/>
              <a:gd name="connsiteX12" fmla="*/ 1201350 w 1882776"/>
              <a:gd name="connsiteY12" fmla="*/ 1834619 h 1885950"/>
              <a:gd name="connsiteX13" fmla="*/ 1211673 w 1882776"/>
              <a:gd name="connsiteY13" fmla="*/ 1827478 h 1885950"/>
              <a:gd name="connsiteX14" fmla="*/ 1223585 w 1882776"/>
              <a:gd name="connsiteY14" fmla="*/ 1817164 h 1885950"/>
              <a:gd name="connsiteX15" fmla="*/ 1229937 w 1882776"/>
              <a:gd name="connsiteY15" fmla="*/ 1810023 h 1885950"/>
              <a:gd name="connsiteX16" fmla="*/ 1235496 w 1882776"/>
              <a:gd name="connsiteY16" fmla="*/ 1802883 h 1885950"/>
              <a:gd name="connsiteX17" fmla="*/ 1240261 w 1882776"/>
              <a:gd name="connsiteY17" fmla="*/ 1794155 h 1885950"/>
              <a:gd name="connsiteX18" fmla="*/ 1245025 w 1882776"/>
              <a:gd name="connsiteY18" fmla="*/ 1784634 h 1885950"/>
              <a:gd name="connsiteX19" fmla="*/ 1249790 w 1882776"/>
              <a:gd name="connsiteY19" fmla="*/ 1774320 h 1885950"/>
              <a:gd name="connsiteX20" fmla="*/ 1252172 w 1882776"/>
              <a:gd name="connsiteY20" fmla="*/ 1764005 h 1885950"/>
              <a:gd name="connsiteX21" fmla="*/ 1254482 w 1882776"/>
              <a:gd name="connsiteY21" fmla="*/ 1752466 h 1885950"/>
              <a:gd name="connsiteX22" fmla="*/ 1254654 w 1882776"/>
              <a:gd name="connsiteY22" fmla="*/ 1751863 h 1885950"/>
              <a:gd name="connsiteX23" fmla="*/ 1257036 w 1882776"/>
              <a:gd name="connsiteY23" fmla="*/ 1739962 h 1885950"/>
              <a:gd name="connsiteX24" fmla="*/ 1257036 w 1882776"/>
              <a:gd name="connsiteY24" fmla="*/ 1727267 h 1885950"/>
              <a:gd name="connsiteX25" fmla="*/ 1257036 w 1882776"/>
              <a:gd name="connsiteY25" fmla="*/ 1711399 h 1885950"/>
              <a:gd name="connsiteX26" fmla="*/ 1253860 w 1882776"/>
              <a:gd name="connsiteY26" fmla="*/ 1697117 h 1885950"/>
              <a:gd name="connsiteX27" fmla="*/ 1249889 w 1882776"/>
              <a:gd name="connsiteY27" fmla="*/ 1682836 h 1885950"/>
              <a:gd name="connsiteX28" fmla="*/ 1242743 w 1882776"/>
              <a:gd name="connsiteY28" fmla="*/ 1670141 h 1885950"/>
              <a:gd name="connsiteX29" fmla="*/ 1235596 w 1882776"/>
              <a:gd name="connsiteY29" fmla="*/ 1657446 h 1885950"/>
              <a:gd name="connsiteX30" fmla="*/ 1226067 w 1882776"/>
              <a:gd name="connsiteY30" fmla="*/ 1645545 h 1885950"/>
              <a:gd name="connsiteX31" fmla="*/ 1215744 w 1882776"/>
              <a:gd name="connsiteY31" fmla="*/ 1634437 h 1885950"/>
              <a:gd name="connsiteX32" fmla="*/ 1203832 w 1882776"/>
              <a:gd name="connsiteY32" fmla="*/ 1624123 h 1885950"/>
              <a:gd name="connsiteX33" fmla="*/ 1191921 w 1882776"/>
              <a:gd name="connsiteY33" fmla="*/ 1614602 h 1885950"/>
              <a:gd name="connsiteX34" fmla="*/ 1177628 w 1882776"/>
              <a:gd name="connsiteY34" fmla="*/ 1605874 h 1885950"/>
              <a:gd name="connsiteX35" fmla="*/ 1162540 w 1882776"/>
              <a:gd name="connsiteY35" fmla="*/ 1598734 h 1885950"/>
              <a:gd name="connsiteX36" fmla="*/ 1146658 w 1882776"/>
              <a:gd name="connsiteY36" fmla="*/ 1591593 h 1885950"/>
              <a:gd name="connsiteX37" fmla="*/ 1129982 w 1882776"/>
              <a:gd name="connsiteY37" fmla="*/ 1586832 h 1885950"/>
              <a:gd name="connsiteX38" fmla="*/ 1112513 w 1882776"/>
              <a:gd name="connsiteY38" fmla="*/ 1583659 h 1885950"/>
              <a:gd name="connsiteX39" fmla="*/ 1094249 w 1882776"/>
              <a:gd name="connsiteY39" fmla="*/ 1581278 h 1885950"/>
              <a:gd name="connsiteX40" fmla="*/ 1075985 w 1882776"/>
              <a:gd name="connsiteY40" fmla="*/ 1581278 h 1885950"/>
              <a:gd name="connsiteX41" fmla="*/ 1056927 w 1882776"/>
              <a:gd name="connsiteY41" fmla="*/ 1581278 h 1885950"/>
              <a:gd name="connsiteX42" fmla="*/ 1038663 w 1882776"/>
              <a:gd name="connsiteY42" fmla="*/ 1583659 h 1885950"/>
              <a:gd name="connsiteX43" fmla="*/ 1021193 w 1882776"/>
              <a:gd name="connsiteY43" fmla="*/ 1586832 h 1885950"/>
              <a:gd name="connsiteX44" fmla="*/ 1004517 w 1882776"/>
              <a:gd name="connsiteY44" fmla="*/ 1591593 h 1885950"/>
              <a:gd name="connsiteX45" fmla="*/ 988635 w 1882776"/>
              <a:gd name="connsiteY45" fmla="*/ 1598734 h 1885950"/>
              <a:gd name="connsiteX46" fmla="*/ 973548 w 1882776"/>
              <a:gd name="connsiteY46" fmla="*/ 1605874 h 1885950"/>
              <a:gd name="connsiteX47" fmla="*/ 959254 w 1882776"/>
              <a:gd name="connsiteY47" fmla="*/ 1614602 h 1885950"/>
              <a:gd name="connsiteX48" fmla="*/ 946549 w 1882776"/>
              <a:gd name="connsiteY48" fmla="*/ 1624123 h 1885950"/>
              <a:gd name="connsiteX49" fmla="*/ 935432 w 1882776"/>
              <a:gd name="connsiteY49" fmla="*/ 1634437 h 1885950"/>
              <a:gd name="connsiteX50" fmla="*/ 925109 w 1882776"/>
              <a:gd name="connsiteY50" fmla="*/ 1645545 h 1885950"/>
              <a:gd name="connsiteX51" fmla="*/ 915580 w 1882776"/>
              <a:gd name="connsiteY51" fmla="*/ 1657446 h 1885950"/>
              <a:gd name="connsiteX52" fmla="*/ 908433 w 1882776"/>
              <a:gd name="connsiteY52" fmla="*/ 1670141 h 1885950"/>
              <a:gd name="connsiteX53" fmla="*/ 901286 w 1882776"/>
              <a:gd name="connsiteY53" fmla="*/ 1682836 h 1885950"/>
              <a:gd name="connsiteX54" fmla="*/ 897316 w 1882776"/>
              <a:gd name="connsiteY54" fmla="*/ 1697117 h 1885950"/>
              <a:gd name="connsiteX55" fmla="*/ 894139 w 1882776"/>
              <a:gd name="connsiteY55" fmla="*/ 1711399 h 1885950"/>
              <a:gd name="connsiteX56" fmla="*/ 894139 w 1882776"/>
              <a:gd name="connsiteY56" fmla="*/ 1713424 h 1885950"/>
              <a:gd name="connsiteX57" fmla="*/ 892451 w 1882776"/>
              <a:gd name="connsiteY57" fmla="*/ 1723541 h 1885950"/>
              <a:gd name="connsiteX58" fmla="*/ 891657 w 1882776"/>
              <a:gd name="connsiteY58" fmla="*/ 1738616 h 1885950"/>
              <a:gd name="connsiteX59" fmla="*/ 891657 w 1882776"/>
              <a:gd name="connsiteY59" fmla="*/ 1752104 h 1885950"/>
              <a:gd name="connsiteX60" fmla="*/ 894040 w 1882776"/>
              <a:gd name="connsiteY60" fmla="*/ 1764005 h 1885950"/>
              <a:gd name="connsiteX61" fmla="*/ 897216 w 1882776"/>
              <a:gd name="connsiteY61" fmla="*/ 1774320 h 1885950"/>
              <a:gd name="connsiteX62" fmla="*/ 901186 w 1882776"/>
              <a:gd name="connsiteY62" fmla="*/ 1784634 h 1885950"/>
              <a:gd name="connsiteX63" fmla="*/ 905951 w 1882776"/>
              <a:gd name="connsiteY63" fmla="*/ 1794155 h 1885950"/>
              <a:gd name="connsiteX64" fmla="*/ 911509 w 1882776"/>
              <a:gd name="connsiteY64" fmla="*/ 1802883 h 1885950"/>
              <a:gd name="connsiteX65" fmla="*/ 917862 w 1882776"/>
              <a:gd name="connsiteY65" fmla="*/ 1810023 h 1885950"/>
              <a:gd name="connsiteX66" fmla="*/ 923421 w 1882776"/>
              <a:gd name="connsiteY66" fmla="*/ 1817164 h 1885950"/>
              <a:gd name="connsiteX67" fmla="*/ 935332 w 1882776"/>
              <a:gd name="connsiteY67" fmla="*/ 1827478 h 1885950"/>
              <a:gd name="connsiteX68" fmla="*/ 944861 w 1882776"/>
              <a:gd name="connsiteY68" fmla="*/ 1834619 h 1885950"/>
              <a:gd name="connsiteX69" fmla="*/ 955978 w 1882776"/>
              <a:gd name="connsiteY69" fmla="*/ 1840966 h 1885950"/>
              <a:gd name="connsiteX70" fmla="*/ 963125 w 1882776"/>
              <a:gd name="connsiteY70" fmla="*/ 1845727 h 1885950"/>
              <a:gd name="connsiteX71" fmla="*/ 969478 w 1882776"/>
              <a:gd name="connsiteY71" fmla="*/ 1850487 h 1885950"/>
              <a:gd name="connsiteX72" fmla="*/ 975830 w 1882776"/>
              <a:gd name="connsiteY72" fmla="*/ 1855248 h 1885950"/>
              <a:gd name="connsiteX73" fmla="*/ 980595 w 1882776"/>
              <a:gd name="connsiteY73" fmla="*/ 1860802 h 1885950"/>
              <a:gd name="connsiteX74" fmla="*/ 983771 w 1882776"/>
              <a:gd name="connsiteY74" fmla="*/ 1865562 h 1885950"/>
              <a:gd name="connsiteX75" fmla="*/ 986153 w 1882776"/>
              <a:gd name="connsiteY75" fmla="*/ 1871910 h 1885950"/>
              <a:gd name="connsiteX76" fmla="*/ 987575 w 1882776"/>
              <a:gd name="connsiteY76" fmla="*/ 1876168 h 1885950"/>
              <a:gd name="connsiteX77" fmla="*/ 985459 w 1882776"/>
              <a:gd name="connsiteY77" fmla="*/ 1880396 h 1885950"/>
              <a:gd name="connsiteX78" fmla="*/ 979106 w 1882776"/>
              <a:gd name="connsiteY78" fmla="*/ 1885950 h 1885950"/>
              <a:gd name="connsiteX79" fmla="*/ 314325 w 1882776"/>
              <a:gd name="connsiteY79" fmla="*/ 1885950 h 1885950"/>
              <a:gd name="connsiteX80" fmla="*/ 314325 w 1882776"/>
              <a:gd name="connsiteY80" fmla="*/ 1251195 h 1885950"/>
              <a:gd name="connsiteX81" fmla="*/ 313663 w 1882776"/>
              <a:gd name="connsiteY81" fmla="*/ 1243256 h 1885950"/>
              <a:gd name="connsiteX82" fmla="*/ 313663 w 1882776"/>
              <a:gd name="connsiteY82" fmla="*/ 1240903 h 1885950"/>
              <a:gd name="connsiteX83" fmla="*/ 312075 w 1882776"/>
              <a:gd name="connsiteY83" fmla="*/ 1232175 h 1885950"/>
              <a:gd name="connsiteX84" fmla="*/ 309693 w 1882776"/>
              <a:gd name="connsiteY84" fmla="*/ 1225035 h 1885950"/>
              <a:gd name="connsiteX85" fmla="*/ 306517 w 1882776"/>
              <a:gd name="connsiteY85" fmla="*/ 1219481 h 1885950"/>
              <a:gd name="connsiteX86" fmla="*/ 304630 w 1882776"/>
              <a:gd name="connsiteY86" fmla="*/ 1217218 h 1885950"/>
              <a:gd name="connsiteX87" fmla="*/ 304006 w 1882776"/>
              <a:gd name="connsiteY87" fmla="*/ 1216283 h 1885950"/>
              <a:gd name="connsiteX88" fmla="*/ 303537 w 1882776"/>
              <a:gd name="connsiteY88" fmla="*/ 1215907 h 1885950"/>
              <a:gd name="connsiteX89" fmla="*/ 302546 w 1882776"/>
              <a:gd name="connsiteY89" fmla="*/ 1214720 h 1885950"/>
              <a:gd name="connsiteX90" fmla="*/ 299370 w 1882776"/>
              <a:gd name="connsiteY90" fmla="*/ 1210753 h 1885950"/>
              <a:gd name="connsiteX91" fmla="*/ 294605 w 1882776"/>
              <a:gd name="connsiteY91" fmla="*/ 1208373 h 1885950"/>
              <a:gd name="connsiteX92" fmla="*/ 289841 w 1882776"/>
              <a:gd name="connsiteY92" fmla="*/ 1207579 h 1885950"/>
              <a:gd name="connsiteX93" fmla="*/ 285076 w 1882776"/>
              <a:gd name="connsiteY93" fmla="*/ 1207579 h 1885950"/>
              <a:gd name="connsiteX94" fmla="*/ 278724 w 1882776"/>
              <a:gd name="connsiteY94" fmla="*/ 1208373 h 1885950"/>
              <a:gd name="connsiteX95" fmla="*/ 273959 w 1882776"/>
              <a:gd name="connsiteY95" fmla="*/ 1210753 h 1885950"/>
              <a:gd name="connsiteX96" fmla="*/ 268400 w 1882776"/>
              <a:gd name="connsiteY96" fmla="*/ 1214720 h 1885950"/>
              <a:gd name="connsiteX97" fmla="*/ 263636 w 1882776"/>
              <a:gd name="connsiteY97" fmla="*/ 1219481 h 1885950"/>
              <a:gd name="connsiteX98" fmla="*/ 258077 w 1882776"/>
              <a:gd name="connsiteY98" fmla="*/ 1225035 h 1885950"/>
              <a:gd name="connsiteX99" fmla="*/ 253313 w 1882776"/>
              <a:gd name="connsiteY99" fmla="*/ 1232175 h 1885950"/>
              <a:gd name="connsiteX100" fmla="*/ 249342 w 1882776"/>
              <a:gd name="connsiteY100" fmla="*/ 1240903 h 1885950"/>
              <a:gd name="connsiteX101" fmla="*/ 243784 w 1882776"/>
              <a:gd name="connsiteY101" fmla="*/ 1250424 h 1885950"/>
              <a:gd name="connsiteX102" fmla="*/ 235049 w 1882776"/>
              <a:gd name="connsiteY102" fmla="*/ 1260738 h 1885950"/>
              <a:gd name="connsiteX103" fmla="*/ 224726 w 1882776"/>
              <a:gd name="connsiteY103" fmla="*/ 1272640 h 1885950"/>
              <a:gd name="connsiteX104" fmla="*/ 217579 w 1882776"/>
              <a:gd name="connsiteY104" fmla="*/ 1278987 h 1885950"/>
              <a:gd name="connsiteX105" fmla="*/ 210432 w 1882776"/>
              <a:gd name="connsiteY105" fmla="*/ 1284541 h 1885950"/>
              <a:gd name="connsiteX106" fmla="*/ 201697 w 1882776"/>
              <a:gd name="connsiteY106" fmla="*/ 1289301 h 1885950"/>
              <a:gd name="connsiteX107" fmla="*/ 192168 w 1882776"/>
              <a:gd name="connsiteY107" fmla="*/ 1294062 h 1885950"/>
              <a:gd name="connsiteX108" fmla="*/ 182639 w 1882776"/>
              <a:gd name="connsiteY108" fmla="*/ 1298822 h 1885950"/>
              <a:gd name="connsiteX109" fmla="*/ 170728 w 1882776"/>
              <a:gd name="connsiteY109" fmla="*/ 1301203 h 1885950"/>
              <a:gd name="connsiteX110" fmla="*/ 158817 w 1882776"/>
              <a:gd name="connsiteY110" fmla="*/ 1303583 h 1885950"/>
              <a:gd name="connsiteX111" fmla="*/ 146111 w 1882776"/>
              <a:gd name="connsiteY111" fmla="*/ 1305170 h 1885950"/>
              <a:gd name="connsiteX112" fmla="*/ 131024 w 1882776"/>
              <a:gd name="connsiteY112" fmla="*/ 1303583 h 1885950"/>
              <a:gd name="connsiteX113" fmla="*/ 116730 w 1882776"/>
              <a:gd name="connsiteY113" fmla="*/ 1300409 h 1885950"/>
              <a:gd name="connsiteX114" fmla="*/ 102437 w 1882776"/>
              <a:gd name="connsiteY114" fmla="*/ 1296442 h 1885950"/>
              <a:gd name="connsiteX115" fmla="*/ 88937 w 1882776"/>
              <a:gd name="connsiteY115" fmla="*/ 1289301 h 1885950"/>
              <a:gd name="connsiteX116" fmla="*/ 76232 w 1882776"/>
              <a:gd name="connsiteY116" fmla="*/ 1282161 h 1885950"/>
              <a:gd name="connsiteX117" fmla="*/ 64321 w 1882776"/>
              <a:gd name="connsiteY117" fmla="*/ 1272640 h 1885950"/>
              <a:gd name="connsiteX118" fmla="*/ 53203 w 1882776"/>
              <a:gd name="connsiteY118" fmla="*/ 1262325 h 1885950"/>
              <a:gd name="connsiteX119" fmla="*/ 47645 w 1882776"/>
              <a:gd name="connsiteY119" fmla="*/ 1256344 h 1885950"/>
              <a:gd name="connsiteX120" fmla="*/ 44450 w 1882776"/>
              <a:gd name="connsiteY120" fmla="*/ 1251989 h 1885950"/>
              <a:gd name="connsiteX121" fmla="*/ 34925 w 1882776"/>
              <a:gd name="connsiteY121" fmla="*/ 1239293 h 1885950"/>
              <a:gd name="connsiteX122" fmla="*/ 26194 w 1882776"/>
              <a:gd name="connsiteY122" fmla="*/ 1225011 h 1885950"/>
              <a:gd name="connsiteX123" fmla="*/ 21815 w 1882776"/>
              <a:gd name="connsiteY123" fmla="*/ 1216255 h 1885950"/>
              <a:gd name="connsiteX124" fmla="*/ 18264 w 1882776"/>
              <a:gd name="connsiteY124" fmla="*/ 1208373 h 1885950"/>
              <a:gd name="connsiteX125" fmla="*/ 15290 w 1882776"/>
              <a:gd name="connsiteY125" fmla="*/ 1202098 h 1885950"/>
              <a:gd name="connsiteX126" fmla="*/ 11906 w 1882776"/>
              <a:gd name="connsiteY126" fmla="*/ 1194066 h 1885950"/>
              <a:gd name="connsiteX127" fmla="*/ 7144 w 1882776"/>
              <a:gd name="connsiteY127" fmla="*/ 1177403 h 1885950"/>
              <a:gd name="connsiteX128" fmla="*/ 3969 w 1882776"/>
              <a:gd name="connsiteY128" fmla="*/ 1159947 h 1885950"/>
              <a:gd name="connsiteX129" fmla="*/ 1587 w 1882776"/>
              <a:gd name="connsiteY129" fmla="*/ 1141697 h 1885950"/>
              <a:gd name="connsiteX130" fmla="*/ 0 w 1882776"/>
              <a:gd name="connsiteY130" fmla="*/ 1122654 h 1885950"/>
              <a:gd name="connsiteX131" fmla="*/ 1587 w 1882776"/>
              <a:gd name="connsiteY131" fmla="*/ 1105198 h 1885950"/>
              <a:gd name="connsiteX132" fmla="*/ 3969 w 1882776"/>
              <a:gd name="connsiteY132" fmla="*/ 1086155 h 1885950"/>
              <a:gd name="connsiteX133" fmla="*/ 7144 w 1882776"/>
              <a:gd name="connsiteY133" fmla="*/ 1069492 h 1885950"/>
              <a:gd name="connsiteX134" fmla="*/ 11906 w 1882776"/>
              <a:gd name="connsiteY134" fmla="*/ 1052829 h 1885950"/>
              <a:gd name="connsiteX135" fmla="*/ 18256 w 1882776"/>
              <a:gd name="connsiteY135" fmla="*/ 1036166 h 1885950"/>
              <a:gd name="connsiteX136" fmla="*/ 26194 w 1882776"/>
              <a:gd name="connsiteY136" fmla="*/ 1021091 h 1885950"/>
              <a:gd name="connsiteX137" fmla="*/ 34925 w 1882776"/>
              <a:gd name="connsiteY137" fmla="*/ 1007602 h 1885950"/>
              <a:gd name="connsiteX138" fmla="*/ 44450 w 1882776"/>
              <a:gd name="connsiteY138" fmla="*/ 994906 h 1885950"/>
              <a:gd name="connsiteX139" fmla="*/ 53181 w 1882776"/>
              <a:gd name="connsiteY139" fmla="*/ 983004 h 1885950"/>
              <a:gd name="connsiteX140" fmla="*/ 65087 w 1882776"/>
              <a:gd name="connsiteY140" fmla="*/ 972689 h 1885950"/>
              <a:gd name="connsiteX141" fmla="*/ 76994 w 1882776"/>
              <a:gd name="connsiteY141" fmla="*/ 963168 h 1885950"/>
              <a:gd name="connsiteX142" fmla="*/ 90487 w 1882776"/>
              <a:gd name="connsiteY142" fmla="*/ 956027 h 1885950"/>
              <a:gd name="connsiteX143" fmla="*/ 103187 w 1882776"/>
              <a:gd name="connsiteY143" fmla="*/ 949679 h 1885950"/>
              <a:gd name="connsiteX144" fmla="*/ 117475 w 1882776"/>
              <a:gd name="connsiteY144" fmla="*/ 944918 h 1885950"/>
              <a:gd name="connsiteX145" fmla="*/ 131762 w 1882776"/>
              <a:gd name="connsiteY145" fmla="*/ 942538 h 1885950"/>
              <a:gd name="connsiteX146" fmla="*/ 147637 w 1882776"/>
              <a:gd name="connsiteY146" fmla="*/ 941744 h 1885950"/>
              <a:gd name="connsiteX147" fmla="*/ 160337 w 1882776"/>
              <a:gd name="connsiteY147" fmla="*/ 941744 h 1885950"/>
              <a:gd name="connsiteX148" fmla="*/ 172244 w 1882776"/>
              <a:gd name="connsiteY148" fmla="*/ 944125 h 1885950"/>
              <a:gd name="connsiteX149" fmla="*/ 182562 w 1882776"/>
              <a:gd name="connsiteY149" fmla="*/ 947298 h 1885950"/>
              <a:gd name="connsiteX150" fmla="*/ 193675 w 1882776"/>
              <a:gd name="connsiteY150" fmla="*/ 951266 h 1885950"/>
              <a:gd name="connsiteX151" fmla="*/ 201717 w 1882776"/>
              <a:gd name="connsiteY151" fmla="*/ 955285 h 1885950"/>
              <a:gd name="connsiteX152" fmla="*/ 206355 w 1882776"/>
              <a:gd name="connsiteY152" fmla="*/ 958234 h 1885950"/>
              <a:gd name="connsiteX153" fmla="*/ 211137 w 1882776"/>
              <a:gd name="connsiteY153" fmla="*/ 961581 h 1885950"/>
              <a:gd name="connsiteX154" fmla="*/ 218281 w 1882776"/>
              <a:gd name="connsiteY154" fmla="*/ 967929 h 1885950"/>
              <a:gd name="connsiteX155" fmla="*/ 225425 w 1882776"/>
              <a:gd name="connsiteY155" fmla="*/ 973483 h 1885950"/>
              <a:gd name="connsiteX156" fmla="*/ 236537 w 1882776"/>
              <a:gd name="connsiteY156" fmla="*/ 985385 h 1885950"/>
              <a:gd name="connsiteX157" fmla="*/ 243681 w 1882776"/>
              <a:gd name="connsiteY157" fmla="*/ 994906 h 1885950"/>
              <a:gd name="connsiteX158" fmla="*/ 249237 w 1882776"/>
              <a:gd name="connsiteY158" fmla="*/ 1005221 h 1885950"/>
              <a:gd name="connsiteX159" fmla="*/ 254000 w 1882776"/>
              <a:gd name="connsiteY159" fmla="*/ 1013949 h 1885950"/>
              <a:gd name="connsiteX160" fmla="*/ 257954 w 1882776"/>
              <a:gd name="connsiteY160" fmla="*/ 1018560 h 1885950"/>
              <a:gd name="connsiteX161" fmla="*/ 258077 w 1882776"/>
              <a:gd name="connsiteY161" fmla="*/ 1018746 h 1885950"/>
              <a:gd name="connsiteX162" fmla="*/ 262842 w 1882776"/>
              <a:gd name="connsiteY162" fmla="*/ 1025094 h 1885950"/>
              <a:gd name="connsiteX163" fmla="*/ 263164 w 1882776"/>
              <a:gd name="connsiteY163" fmla="*/ 1025369 h 1885950"/>
              <a:gd name="connsiteX164" fmla="*/ 263525 w 1882776"/>
              <a:gd name="connsiteY164" fmla="*/ 1025851 h 1885950"/>
              <a:gd name="connsiteX165" fmla="*/ 265139 w 1882776"/>
              <a:gd name="connsiteY165" fmla="*/ 1027060 h 1885950"/>
              <a:gd name="connsiteX166" fmla="*/ 268400 w 1882776"/>
              <a:gd name="connsiteY166" fmla="*/ 1029854 h 1885950"/>
              <a:gd name="connsiteX167" fmla="*/ 273165 w 1882776"/>
              <a:gd name="connsiteY167" fmla="*/ 1033028 h 1885950"/>
              <a:gd name="connsiteX168" fmla="*/ 274101 w 1882776"/>
              <a:gd name="connsiteY168" fmla="*/ 1033428 h 1885950"/>
              <a:gd name="connsiteX169" fmla="*/ 274637 w 1882776"/>
              <a:gd name="connsiteY169" fmla="*/ 1033786 h 1885950"/>
              <a:gd name="connsiteX170" fmla="*/ 280194 w 1882776"/>
              <a:gd name="connsiteY170" fmla="*/ 1036166 h 1885950"/>
              <a:gd name="connsiteX171" fmla="*/ 284956 w 1882776"/>
              <a:gd name="connsiteY171" fmla="*/ 1037753 h 1885950"/>
              <a:gd name="connsiteX172" fmla="*/ 290512 w 1882776"/>
              <a:gd name="connsiteY172" fmla="*/ 1037753 h 1885950"/>
              <a:gd name="connsiteX173" fmla="*/ 295275 w 1882776"/>
              <a:gd name="connsiteY173" fmla="*/ 1036166 h 1885950"/>
              <a:gd name="connsiteX174" fmla="*/ 300037 w 1882776"/>
              <a:gd name="connsiteY174" fmla="*/ 1033786 h 1885950"/>
              <a:gd name="connsiteX175" fmla="*/ 304006 w 1882776"/>
              <a:gd name="connsiteY175" fmla="*/ 1030612 h 1885950"/>
              <a:gd name="connsiteX176" fmla="*/ 307181 w 1882776"/>
              <a:gd name="connsiteY176" fmla="*/ 1025851 h 1885950"/>
              <a:gd name="connsiteX177" fmla="*/ 309562 w 1882776"/>
              <a:gd name="connsiteY177" fmla="*/ 1019504 h 1885950"/>
              <a:gd name="connsiteX178" fmla="*/ 311944 w 1882776"/>
              <a:gd name="connsiteY178" fmla="*/ 1012363 h 1885950"/>
              <a:gd name="connsiteX179" fmla="*/ 313531 w 1882776"/>
              <a:gd name="connsiteY179" fmla="*/ 1004428 h 1885950"/>
              <a:gd name="connsiteX180" fmla="*/ 314325 w 1882776"/>
              <a:gd name="connsiteY180" fmla="*/ 995700 h 1885950"/>
              <a:gd name="connsiteX181" fmla="*/ 314325 w 1882776"/>
              <a:gd name="connsiteY181" fmla="*/ 316495 h 1885950"/>
              <a:gd name="connsiteX182" fmla="*/ 311292 w 1882776"/>
              <a:gd name="connsiteY182" fmla="*/ 316495 h 1885950"/>
              <a:gd name="connsiteX183" fmla="*/ 311281 w 1882776"/>
              <a:gd name="connsiteY183" fmla="*/ 313399 h 1885950"/>
              <a:gd name="connsiteX184" fmla="*/ 948931 w 1882776"/>
              <a:gd name="connsiteY184" fmla="*/ 313399 h 1885950"/>
              <a:gd name="connsiteX185" fmla="*/ 956872 w 1882776"/>
              <a:gd name="connsiteY185" fmla="*/ 311813 h 1885950"/>
              <a:gd name="connsiteX186" fmla="*/ 965607 w 1882776"/>
              <a:gd name="connsiteY186" fmla="*/ 311019 h 1885950"/>
              <a:gd name="connsiteX187" fmla="*/ 971960 w 1882776"/>
              <a:gd name="connsiteY187" fmla="*/ 308639 h 1885950"/>
              <a:gd name="connsiteX188" fmla="*/ 978312 w 1882776"/>
              <a:gd name="connsiteY188" fmla="*/ 306259 h 1885950"/>
              <a:gd name="connsiteX189" fmla="*/ 983077 w 1882776"/>
              <a:gd name="connsiteY189" fmla="*/ 303085 h 1885950"/>
              <a:gd name="connsiteX190" fmla="*/ 986253 w 1882776"/>
              <a:gd name="connsiteY190" fmla="*/ 299118 h 1885950"/>
              <a:gd name="connsiteX191" fmla="*/ 988635 w 1882776"/>
              <a:gd name="connsiteY191" fmla="*/ 294358 h 1885950"/>
              <a:gd name="connsiteX192" fmla="*/ 990224 w 1882776"/>
              <a:gd name="connsiteY192" fmla="*/ 289597 h 1885950"/>
              <a:gd name="connsiteX193" fmla="*/ 990224 w 1882776"/>
              <a:gd name="connsiteY193" fmla="*/ 284043 h 1885950"/>
              <a:gd name="connsiteX194" fmla="*/ 989123 w 1882776"/>
              <a:gd name="connsiteY194" fmla="*/ 280744 h 1885950"/>
              <a:gd name="connsiteX195" fmla="*/ 990224 w 1882776"/>
              <a:gd name="connsiteY195" fmla="*/ 277442 h 1885950"/>
              <a:gd name="connsiteX196" fmla="*/ 990224 w 1882776"/>
              <a:gd name="connsiteY196" fmla="*/ 272679 h 1885950"/>
              <a:gd name="connsiteX197" fmla="*/ 988636 w 1882776"/>
              <a:gd name="connsiteY197" fmla="*/ 267123 h 1885950"/>
              <a:gd name="connsiteX198" fmla="*/ 986254 w 1882776"/>
              <a:gd name="connsiteY198" fmla="*/ 262360 h 1885950"/>
              <a:gd name="connsiteX199" fmla="*/ 983077 w 1882776"/>
              <a:gd name="connsiteY199" fmla="*/ 256010 h 1885950"/>
              <a:gd name="connsiteX200" fmla="*/ 978313 w 1882776"/>
              <a:gd name="connsiteY200" fmla="*/ 251248 h 1885950"/>
              <a:gd name="connsiteX201" fmla="*/ 971960 w 1882776"/>
              <a:gd name="connsiteY201" fmla="*/ 245692 h 1885950"/>
              <a:gd name="connsiteX202" fmla="*/ 965608 w 1882776"/>
              <a:gd name="connsiteY202" fmla="*/ 240929 h 1885950"/>
              <a:gd name="connsiteX203" fmla="*/ 958461 w 1882776"/>
              <a:gd name="connsiteY203" fmla="*/ 236167 h 1885950"/>
              <a:gd name="connsiteX204" fmla="*/ 947344 w 1882776"/>
              <a:gd name="connsiteY204" fmla="*/ 229817 h 1885950"/>
              <a:gd name="connsiteX205" fmla="*/ 937815 w 1882776"/>
              <a:gd name="connsiteY205" fmla="*/ 222673 h 1885950"/>
              <a:gd name="connsiteX206" fmla="*/ 925903 w 1882776"/>
              <a:gd name="connsiteY206" fmla="*/ 212354 h 1885950"/>
              <a:gd name="connsiteX207" fmla="*/ 920345 w 1882776"/>
              <a:gd name="connsiteY207" fmla="*/ 205210 h 1885950"/>
              <a:gd name="connsiteX208" fmla="*/ 913992 w 1882776"/>
              <a:gd name="connsiteY208" fmla="*/ 198067 h 1885950"/>
              <a:gd name="connsiteX209" fmla="*/ 908434 w 1882776"/>
              <a:gd name="connsiteY209" fmla="*/ 189335 h 1885950"/>
              <a:gd name="connsiteX210" fmla="*/ 903669 w 1882776"/>
              <a:gd name="connsiteY210" fmla="*/ 180604 h 1885950"/>
              <a:gd name="connsiteX211" fmla="*/ 899699 w 1882776"/>
              <a:gd name="connsiteY211" fmla="*/ 169492 h 1885950"/>
              <a:gd name="connsiteX212" fmla="*/ 896522 w 1882776"/>
              <a:gd name="connsiteY212" fmla="*/ 159173 h 1885950"/>
              <a:gd name="connsiteX213" fmla="*/ 894140 w 1882776"/>
              <a:gd name="connsiteY213" fmla="*/ 147267 h 1885950"/>
              <a:gd name="connsiteX214" fmla="*/ 894140 w 1882776"/>
              <a:gd name="connsiteY214" fmla="*/ 145970 h 1885950"/>
              <a:gd name="connsiteX215" fmla="*/ 894933 w 1882776"/>
              <a:gd name="connsiteY215" fmla="*/ 130914 h 1885950"/>
              <a:gd name="connsiteX216" fmla="*/ 897316 w 1882776"/>
              <a:gd name="connsiteY216" fmla="*/ 116632 h 1885950"/>
              <a:gd name="connsiteX217" fmla="*/ 902080 w 1882776"/>
              <a:gd name="connsiteY217" fmla="*/ 102351 h 1885950"/>
              <a:gd name="connsiteX218" fmla="*/ 908433 w 1882776"/>
              <a:gd name="connsiteY218" fmla="*/ 88863 h 1885950"/>
              <a:gd name="connsiteX219" fmla="*/ 915580 w 1882776"/>
              <a:gd name="connsiteY219" fmla="*/ 76168 h 1885950"/>
              <a:gd name="connsiteX220" fmla="*/ 925109 w 1882776"/>
              <a:gd name="connsiteY220" fmla="*/ 64267 h 1885950"/>
              <a:gd name="connsiteX221" fmla="*/ 935432 w 1882776"/>
              <a:gd name="connsiteY221" fmla="*/ 52366 h 1885950"/>
              <a:gd name="connsiteX222" fmla="*/ 947343 w 1882776"/>
              <a:gd name="connsiteY222" fmla="*/ 42845 h 1885950"/>
              <a:gd name="connsiteX223" fmla="*/ 960842 w 1882776"/>
              <a:gd name="connsiteY223" fmla="*/ 33324 h 1885950"/>
              <a:gd name="connsiteX224" fmla="*/ 973548 w 1882776"/>
              <a:gd name="connsiteY224" fmla="*/ 25389 h 1885950"/>
              <a:gd name="connsiteX225" fmla="*/ 988635 w 1882776"/>
              <a:gd name="connsiteY225" fmla="*/ 16662 h 1885950"/>
              <a:gd name="connsiteX226" fmla="*/ 1005311 w 1882776"/>
              <a:gd name="connsiteY226" fmla="*/ 11108 h 1885950"/>
              <a:gd name="connsiteX227" fmla="*/ 1021987 w 1882776"/>
              <a:gd name="connsiteY227" fmla="*/ 6347 h 1885950"/>
              <a:gd name="connsiteX228" fmla="*/ 1038663 w 1882776"/>
              <a:gd name="connsiteY228" fmla="*/ 2380 h 1885950"/>
              <a:gd name="connsiteX229" fmla="*/ 1057721 w 1882776"/>
              <a:gd name="connsiteY229" fmla="*/ 0 h 1885950"/>
              <a:gd name="connsiteX230" fmla="*/ 1075985 w 1882776"/>
              <a:gd name="connsiteY230" fmla="*/ 0 h 1885950"/>
              <a:gd name="connsiteX231" fmla="*/ 1094249 w 1882776"/>
              <a:gd name="connsiteY231" fmla="*/ 0 h 1885950"/>
              <a:gd name="connsiteX232" fmla="*/ 1112513 w 1882776"/>
              <a:gd name="connsiteY232" fmla="*/ 2380 h 1885950"/>
              <a:gd name="connsiteX233" fmla="*/ 1129982 w 1882776"/>
              <a:gd name="connsiteY233" fmla="*/ 6347 h 1885950"/>
              <a:gd name="connsiteX234" fmla="*/ 1146658 w 1882776"/>
              <a:gd name="connsiteY234" fmla="*/ 11108 h 1885950"/>
              <a:gd name="connsiteX235" fmla="*/ 1162540 w 1882776"/>
              <a:gd name="connsiteY235" fmla="*/ 16662 h 1885950"/>
              <a:gd name="connsiteX236" fmla="*/ 1177628 w 1882776"/>
              <a:gd name="connsiteY236" fmla="*/ 25389 h 1885950"/>
              <a:gd name="connsiteX237" fmla="*/ 1191921 w 1882776"/>
              <a:gd name="connsiteY237" fmla="*/ 33324 h 1885950"/>
              <a:gd name="connsiteX238" fmla="*/ 1204626 w 1882776"/>
              <a:gd name="connsiteY238" fmla="*/ 42845 h 1885950"/>
              <a:gd name="connsiteX239" fmla="*/ 1216538 w 1882776"/>
              <a:gd name="connsiteY239" fmla="*/ 52366 h 1885950"/>
              <a:gd name="connsiteX240" fmla="*/ 1227655 w 1882776"/>
              <a:gd name="connsiteY240" fmla="*/ 64267 h 1885950"/>
              <a:gd name="connsiteX241" fmla="*/ 1235596 w 1882776"/>
              <a:gd name="connsiteY241" fmla="*/ 76168 h 1885950"/>
              <a:gd name="connsiteX242" fmla="*/ 1244331 w 1882776"/>
              <a:gd name="connsiteY242" fmla="*/ 88863 h 1885950"/>
              <a:gd name="connsiteX243" fmla="*/ 1249889 w 1882776"/>
              <a:gd name="connsiteY243" fmla="*/ 102351 h 1885950"/>
              <a:gd name="connsiteX244" fmla="*/ 1254654 w 1882776"/>
              <a:gd name="connsiteY244" fmla="*/ 116632 h 1885950"/>
              <a:gd name="connsiteX245" fmla="*/ 1257036 w 1882776"/>
              <a:gd name="connsiteY245" fmla="*/ 130914 h 1885950"/>
              <a:gd name="connsiteX246" fmla="*/ 1257946 w 1882776"/>
              <a:gd name="connsiteY246" fmla="*/ 139545 h 1885950"/>
              <a:gd name="connsiteX247" fmla="*/ 1257036 w 1882776"/>
              <a:gd name="connsiteY247" fmla="*/ 147267 h 1885950"/>
              <a:gd name="connsiteX248" fmla="*/ 1254654 w 1882776"/>
              <a:gd name="connsiteY248" fmla="*/ 159173 h 1885950"/>
              <a:gd name="connsiteX249" fmla="*/ 1252272 w 1882776"/>
              <a:gd name="connsiteY249" fmla="*/ 169492 h 1885950"/>
              <a:gd name="connsiteX250" fmla="*/ 1247507 w 1882776"/>
              <a:gd name="connsiteY250" fmla="*/ 180604 h 1885950"/>
              <a:gd name="connsiteX251" fmla="*/ 1242743 w 1882776"/>
              <a:gd name="connsiteY251" fmla="*/ 189335 h 1885950"/>
              <a:gd name="connsiteX252" fmla="*/ 1237978 w 1882776"/>
              <a:gd name="connsiteY252" fmla="*/ 198067 h 1885950"/>
              <a:gd name="connsiteX253" fmla="*/ 1232420 w 1882776"/>
              <a:gd name="connsiteY253" fmla="*/ 205210 h 1885950"/>
              <a:gd name="connsiteX254" fmla="*/ 1226067 w 1882776"/>
              <a:gd name="connsiteY254" fmla="*/ 212354 h 1885950"/>
              <a:gd name="connsiteX255" fmla="*/ 1214156 w 1882776"/>
              <a:gd name="connsiteY255" fmla="*/ 222673 h 1885950"/>
              <a:gd name="connsiteX256" fmla="*/ 1203833 w 1882776"/>
              <a:gd name="connsiteY256" fmla="*/ 229817 h 1885950"/>
              <a:gd name="connsiteX257" fmla="*/ 1194304 w 1882776"/>
              <a:gd name="connsiteY257" fmla="*/ 236167 h 1885950"/>
              <a:gd name="connsiteX258" fmla="*/ 1186363 w 1882776"/>
              <a:gd name="connsiteY258" fmla="*/ 240929 h 1885950"/>
              <a:gd name="connsiteX259" fmla="*/ 1179216 w 1882776"/>
              <a:gd name="connsiteY259" fmla="*/ 245692 h 1885950"/>
              <a:gd name="connsiteX260" fmla="*/ 1172864 w 1882776"/>
              <a:gd name="connsiteY260" fmla="*/ 251248 h 1885950"/>
              <a:gd name="connsiteX261" fmla="*/ 1168099 w 1882776"/>
              <a:gd name="connsiteY261" fmla="*/ 256010 h 1885950"/>
              <a:gd name="connsiteX262" fmla="*/ 1164923 w 1882776"/>
              <a:gd name="connsiteY262" fmla="*/ 262360 h 1885950"/>
              <a:gd name="connsiteX263" fmla="*/ 1162540 w 1882776"/>
              <a:gd name="connsiteY263" fmla="*/ 267123 h 1885950"/>
              <a:gd name="connsiteX264" fmla="*/ 1162540 w 1882776"/>
              <a:gd name="connsiteY264" fmla="*/ 272679 h 1885950"/>
              <a:gd name="connsiteX265" fmla="*/ 1162540 w 1882776"/>
              <a:gd name="connsiteY265" fmla="*/ 277442 h 1885950"/>
              <a:gd name="connsiteX266" fmla="*/ 1162753 w 1882776"/>
              <a:gd name="connsiteY266" fmla="*/ 278716 h 1885950"/>
              <a:gd name="connsiteX267" fmla="*/ 1162540 w 1882776"/>
              <a:gd name="connsiteY267" fmla="*/ 279283 h 1885950"/>
              <a:gd name="connsiteX268" fmla="*/ 1162540 w 1882776"/>
              <a:gd name="connsiteY268" fmla="*/ 284043 h 1885950"/>
              <a:gd name="connsiteX269" fmla="*/ 1162540 w 1882776"/>
              <a:gd name="connsiteY269" fmla="*/ 289597 h 1885950"/>
              <a:gd name="connsiteX270" fmla="*/ 1163334 w 1882776"/>
              <a:gd name="connsiteY270" fmla="*/ 294358 h 1885950"/>
              <a:gd name="connsiteX271" fmla="*/ 1165716 w 1882776"/>
              <a:gd name="connsiteY271" fmla="*/ 299118 h 1885950"/>
              <a:gd name="connsiteX272" fmla="*/ 1169687 w 1882776"/>
              <a:gd name="connsiteY272" fmla="*/ 303085 h 1885950"/>
              <a:gd name="connsiteX273" fmla="*/ 1174451 w 1882776"/>
              <a:gd name="connsiteY273" fmla="*/ 306259 h 1885950"/>
              <a:gd name="connsiteX274" fmla="*/ 1179216 w 1882776"/>
              <a:gd name="connsiteY274" fmla="*/ 308639 h 1885950"/>
              <a:gd name="connsiteX275" fmla="*/ 1186362 w 1882776"/>
              <a:gd name="connsiteY275" fmla="*/ 311019 h 1885950"/>
              <a:gd name="connsiteX276" fmla="*/ 1194303 w 1882776"/>
              <a:gd name="connsiteY276" fmla="*/ 311813 h 1885950"/>
              <a:gd name="connsiteX277" fmla="*/ 1203832 w 1882776"/>
              <a:gd name="connsiteY277" fmla="*/ 313399 h 1885950"/>
              <a:gd name="connsiteX278" fmla="*/ 1882776 w 1882776"/>
              <a:gd name="connsiteY278" fmla="*/ 313399 h 188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882776" h="1885950">
                <a:moveTo>
                  <a:pt x="1882776" y="313399"/>
                </a:moveTo>
                <a:lnTo>
                  <a:pt x="1882775" y="1885950"/>
                </a:lnTo>
                <a:lnTo>
                  <a:pt x="1172069" y="1885950"/>
                </a:lnTo>
                <a:lnTo>
                  <a:pt x="1165716" y="1880396"/>
                </a:lnTo>
                <a:lnTo>
                  <a:pt x="1162540" y="1874049"/>
                </a:lnTo>
                <a:lnTo>
                  <a:pt x="1161318" y="1868553"/>
                </a:lnTo>
                <a:lnTo>
                  <a:pt x="1162440" y="1865562"/>
                </a:lnTo>
                <a:lnTo>
                  <a:pt x="1165617" y="1860802"/>
                </a:lnTo>
                <a:lnTo>
                  <a:pt x="1170381" y="1855248"/>
                </a:lnTo>
                <a:lnTo>
                  <a:pt x="1176734" y="1850487"/>
                </a:lnTo>
                <a:lnTo>
                  <a:pt x="1183880" y="1845727"/>
                </a:lnTo>
                <a:lnTo>
                  <a:pt x="1191821" y="1840966"/>
                </a:lnTo>
                <a:lnTo>
                  <a:pt x="1201350" y="1834619"/>
                </a:lnTo>
                <a:lnTo>
                  <a:pt x="1211673" y="1827478"/>
                </a:lnTo>
                <a:lnTo>
                  <a:pt x="1223585" y="1817164"/>
                </a:lnTo>
                <a:lnTo>
                  <a:pt x="1229937" y="1810023"/>
                </a:lnTo>
                <a:lnTo>
                  <a:pt x="1235496" y="1802883"/>
                </a:lnTo>
                <a:lnTo>
                  <a:pt x="1240261" y="1794155"/>
                </a:lnTo>
                <a:lnTo>
                  <a:pt x="1245025" y="1784634"/>
                </a:lnTo>
                <a:lnTo>
                  <a:pt x="1249790" y="1774320"/>
                </a:lnTo>
                <a:lnTo>
                  <a:pt x="1252172" y="1764005"/>
                </a:lnTo>
                <a:lnTo>
                  <a:pt x="1254482" y="1752466"/>
                </a:lnTo>
                <a:lnTo>
                  <a:pt x="1254654" y="1751863"/>
                </a:lnTo>
                <a:lnTo>
                  <a:pt x="1257036" y="1739962"/>
                </a:lnTo>
                <a:lnTo>
                  <a:pt x="1257036" y="1727267"/>
                </a:lnTo>
                <a:lnTo>
                  <a:pt x="1257036" y="1711399"/>
                </a:lnTo>
                <a:lnTo>
                  <a:pt x="1253860" y="1697117"/>
                </a:lnTo>
                <a:lnTo>
                  <a:pt x="1249889" y="1682836"/>
                </a:lnTo>
                <a:lnTo>
                  <a:pt x="1242743" y="1670141"/>
                </a:lnTo>
                <a:lnTo>
                  <a:pt x="1235596" y="1657446"/>
                </a:lnTo>
                <a:lnTo>
                  <a:pt x="1226067" y="1645545"/>
                </a:lnTo>
                <a:lnTo>
                  <a:pt x="1215744" y="1634437"/>
                </a:lnTo>
                <a:lnTo>
                  <a:pt x="1203832" y="1624123"/>
                </a:lnTo>
                <a:lnTo>
                  <a:pt x="1191921" y="1614602"/>
                </a:lnTo>
                <a:lnTo>
                  <a:pt x="1177628" y="1605874"/>
                </a:lnTo>
                <a:lnTo>
                  <a:pt x="1162540" y="1598734"/>
                </a:lnTo>
                <a:lnTo>
                  <a:pt x="1146658" y="1591593"/>
                </a:lnTo>
                <a:lnTo>
                  <a:pt x="1129982" y="1586832"/>
                </a:lnTo>
                <a:lnTo>
                  <a:pt x="1112513" y="1583659"/>
                </a:lnTo>
                <a:lnTo>
                  <a:pt x="1094249" y="1581278"/>
                </a:lnTo>
                <a:lnTo>
                  <a:pt x="1075985" y="1581278"/>
                </a:lnTo>
                <a:lnTo>
                  <a:pt x="1056927" y="1581278"/>
                </a:lnTo>
                <a:lnTo>
                  <a:pt x="1038663" y="1583659"/>
                </a:lnTo>
                <a:lnTo>
                  <a:pt x="1021193" y="1586832"/>
                </a:lnTo>
                <a:lnTo>
                  <a:pt x="1004517" y="1591593"/>
                </a:lnTo>
                <a:lnTo>
                  <a:pt x="988635" y="1598734"/>
                </a:lnTo>
                <a:lnTo>
                  <a:pt x="973548" y="1605874"/>
                </a:lnTo>
                <a:lnTo>
                  <a:pt x="959254" y="1614602"/>
                </a:lnTo>
                <a:lnTo>
                  <a:pt x="946549" y="1624123"/>
                </a:lnTo>
                <a:lnTo>
                  <a:pt x="935432" y="1634437"/>
                </a:lnTo>
                <a:lnTo>
                  <a:pt x="925109" y="1645545"/>
                </a:lnTo>
                <a:lnTo>
                  <a:pt x="915580" y="1657446"/>
                </a:lnTo>
                <a:lnTo>
                  <a:pt x="908433" y="1670141"/>
                </a:lnTo>
                <a:lnTo>
                  <a:pt x="901286" y="1682836"/>
                </a:lnTo>
                <a:lnTo>
                  <a:pt x="897316" y="1697117"/>
                </a:lnTo>
                <a:lnTo>
                  <a:pt x="894139" y="1711399"/>
                </a:lnTo>
                <a:lnTo>
                  <a:pt x="894139" y="1713424"/>
                </a:lnTo>
                <a:lnTo>
                  <a:pt x="892451" y="1723541"/>
                </a:lnTo>
                <a:lnTo>
                  <a:pt x="891657" y="1738616"/>
                </a:lnTo>
                <a:lnTo>
                  <a:pt x="891657" y="1752104"/>
                </a:lnTo>
                <a:lnTo>
                  <a:pt x="894040" y="1764005"/>
                </a:lnTo>
                <a:lnTo>
                  <a:pt x="897216" y="1774320"/>
                </a:lnTo>
                <a:lnTo>
                  <a:pt x="901186" y="1784634"/>
                </a:lnTo>
                <a:lnTo>
                  <a:pt x="905951" y="1794155"/>
                </a:lnTo>
                <a:lnTo>
                  <a:pt x="911509" y="1802883"/>
                </a:lnTo>
                <a:lnTo>
                  <a:pt x="917862" y="1810023"/>
                </a:lnTo>
                <a:lnTo>
                  <a:pt x="923421" y="1817164"/>
                </a:lnTo>
                <a:lnTo>
                  <a:pt x="935332" y="1827478"/>
                </a:lnTo>
                <a:lnTo>
                  <a:pt x="944861" y="1834619"/>
                </a:lnTo>
                <a:lnTo>
                  <a:pt x="955978" y="1840966"/>
                </a:lnTo>
                <a:lnTo>
                  <a:pt x="963125" y="1845727"/>
                </a:lnTo>
                <a:lnTo>
                  <a:pt x="969478" y="1850487"/>
                </a:lnTo>
                <a:lnTo>
                  <a:pt x="975830" y="1855248"/>
                </a:lnTo>
                <a:lnTo>
                  <a:pt x="980595" y="1860802"/>
                </a:lnTo>
                <a:lnTo>
                  <a:pt x="983771" y="1865562"/>
                </a:lnTo>
                <a:lnTo>
                  <a:pt x="986153" y="1871910"/>
                </a:lnTo>
                <a:lnTo>
                  <a:pt x="987575" y="1876168"/>
                </a:lnTo>
                <a:lnTo>
                  <a:pt x="985459" y="1880396"/>
                </a:lnTo>
                <a:lnTo>
                  <a:pt x="979106" y="1885950"/>
                </a:lnTo>
                <a:lnTo>
                  <a:pt x="314325" y="1885950"/>
                </a:lnTo>
                <a:lnTo>
                  <a:pt x="314325" y="1251195"/>
                </a:lnTo>
                <a:lnTo>
                  <a:pt x="313663" y="1243256"/>
                </a:lnTo>
                <a:lnTo>
                  <a:pt x="313663" y="1240903"/>
                </a:lnTo>
                <a:lnTo>
                  <a:pt x="312075" y="1232175"/>
                </a:lnTo>
                <a:lnTo>
                  <a:pt x="309693" y="1225035"/>
                </a:lnTo>
                <a:lnTo>
                  <a:pt x="306517" y="1219481"/>
                </a:lnTo>
                <a:lnTo>
                  <a:pt x="304630" y="1217218"/>
                </a:lnTo>
                <a:lnTo>
                  <a:pt x="304006" y="1216283"/>
                </a:lnTo>
                <a:lnTo>
                  <a:pt x="303537" y="1215907"/>
                </a:lnTo>
                <a:lnTo>
                  <a:pt x="302546" y="1214720"/>
                </a:lnTo>
                <a:lnTo>
                  <a:pt x="299370" y="1210753"/>
                </a:lnTo>
                <a:lnTo>
                  <a:pt x="294605" y="1208373"/>
                </a:lnTo>
                <a:lnTo>
                  <a:pt x="289841" y="1207579"/>
                </a:lnTo>
                <a:lnTo>
                  <a:pt x="285076" y="1207579"/>
                </a:lnTo>
                <a:lnTo>
                  <a:pt x="278724" y="1208373"/>
                </a:lnTo>
                <a:lnTo>
                  <a:pt x="273959" y="1210753"/>
                </a:lnTo>
                <a:lnTo>
                  <a:pt x="268400" y="1214720"/>
                </a:lnTo>
                <a:lnTo>
                  <a:pt x="263636" y="1219481"/>
                </a:lnTo>
                <a:lnTo>
                  <a:pt x="258077" y="1225035"/>
                </a:lnTo>
                <a:lnTo>
                  <a:pt x="253313" y="1232175"/>
                </a:lnTo>
                <a:lnTo>
                  <a:pt x="249342" y="1240903"/>
                </a:lnTo>
                <a:lnTo>
                  <a:pt x="243784" y="1250424"/>
                </a:lnTo>
                <a:lnTo>
                  <a:pt x="235049" y="1260738"/>
                </a:lnTo>
                <a:lnTo>
                  <a:pt x="224726" y="1272640"/>
                </a:lnTo>
                <a:lnTo>
                  <a:pt x="217579" y="1278987"/>
                </a:lnTo>
                <a:lnTo>
                  <a:pt x="210432" y="1284541"/>
                </a:lnTo>
                <a:lnTo>
                  <a:pt x="201697" y="1289301"/>
                </a:lnTo>
                <a:lnTo>
                  <a:pt x="192168" y="1294062"/>
                </a:lnTo>
                <a:lnTo>
                  <a:pt x="182639" y="1298822"/>
                </a:lnTo>
                <a:lnTo>
                  <a:pt x="170728" y="1301203"/>
                </a:lnTo>
                <a:lnTo>
                  <a:pt x="158817" y="1303583"/>
                </a:lnTo>
                <a:lnTo>
                  <a:pt x="146111" y="1305170"/>
                </a:lnTo>
                <a:lnTo>
                  <a:pt x="131024" y="1303583"/>
                </a:lnTo>
                <a:lnTo>
                  <a:pt x="116730" y="1300409"/>
                </a:lnTo>
                <a:lnTo>
                  <a:pt x="102437" y="1296442"/>
                </a:lnTo>
                <a:lnTo>
                  <a:pt x="88937" y="1289301"/>
                </a:lnTo>
                <a:lnTo>
                  <a:pt x="76232" y="1282161"/>
                </a:lnTo>
                <a:lnTo>
                  <a:pt x="64321" y="1272640"/>
                </a:lnTo>
                <a:lnTo>
                  <a:pt x="53203" y="1262325"/>
                </a:lnTo>
                <a:lnTo>
                  <a:pt x="47645" y="1256344"/>
                </a:lnTo>
                <a:lnTo>
                  <a:pt x="44450" y="1251989"/>
                </a:lnTo>
                <a:lnTo>
                  <a:pt x="34925" y="1239293"/>
                </a:lnTo>
                <a:lnTo>
                  <a:pt x="26194" y="1225011"/>
                </a:lnTo>
                <a:lnTo>
                  <a:pt x="21815" y="1216255"/>
                </a:lnTo>
                <a:lnTo>
                  <a:pt x="18264" y="1208373"/>
                </a:lnTo>
                <a:lnTo>
                  <a:pt x="15290" y="1202098"/>
                </a:lnTo>
                <a:lnTo>
                  <a:pt x="11906" y="1194066"/>
                </a:lnTo>
                <a:lnTo>
                  <a:pt x="7144" y="1177403"/>
                </a:lnTo>
                <a:lnTo>
                  <a:pt x="3969" y="1159947"/>
                </a:lnTo>
                <a:lnTo>
                  <a:pt x="1587" y="1141697"/>
                </a:lnTo>
                <a:lnTo>
                  <a:pt x="0" y="1122654"/>
                </a:lnTo>
                <a:lnTo>
                  <a:pt x="1587" y="1105198"/>
                </a:lnTo>
                <a:lnTo>
                  <a:pt x="3969" y="1086155"/>
                </a:lnTo>
                <a:lnTo>
                  <a:pt x="7144" y="1069492"/>
                </a:lnTo>
                <a:lnTo>
                  <a:pt x="11906" y="1052829"/>
                </a:lnTo>
                <a:lnTo>
                  <a:pt x="18256" y="1036166"/>
                </a:lnTo>
                <a:lnTo>
                  <a:pt x="26194" y="1021091"/>
                </a:lnTo>
                <a:lnTo>
                  <a:pt x="34925" y="1007602"/>
                </a:lnTo>
                <a:lnTo>
                  <a:pt x="44450" y="994906"/>
                </a:lnTo>
                <a:lnTo>
                  <a:pt x="53181" y="983004"/>
                </a:lnTo>
                <a:lnTo>
                  <a:pt x="65087" y="972689"/>
                </a:lnTo>
                <a:lnTo>
                  <a:pt x="76994" y="963168"/>
                </a:lnTo>
                <a:lnTo>
                  <a:pt x="90487" y="956027"/>
                </a:lnTo>
                <a:lnTo>
                  <a:pt x="103187" y="949679"/>
                </a:lnTo>
                <a:lnTo>
                  <a:pt x="117475" y="944918"/>
                </a:lnTo>
                <a:lnTo>
                  <a:pt x="131762" y="942538"/>
                </a:lnTo>
                <a:lnTo>
                  <a:pt x="147637" y="941744"/>
                </a:lnTo>
                <a:lnTo>
                  <a:pt x="160337" y="941744"/>
                </a:lnTo>
                <a:lnTo>
                  <a:pt x="172244" y="944125"/>
                </a:lnTo>
                <a:lnTo>
                  <a:pt x="182562" y="947298"/>
                </a:lnTo>
                <a:lnTo>
                  <a:pt x="193675" y="951266"/>
                </a:lnTo>
                <a:lnTo>
                  <a:pt x="201717" y="955285"/>
                </a:lnTo>
                <a:lnTo>
                  <a:pt x="206355" y="958234"/>
                </a:lnTo>
                <a:lnTo>
                  <a:pt x="211137" y="961581"/>
                </a:lnTo>
                <a:lnTo>
                  <a:pt x="218281" y="967929"/>
                </a:lnTo>
                <a:lnTo>
                  <a:pt x="225425" y="973483"/>
                </a:lnTo>
                <a:lnTo>
                  <a:pt x="236537" y="985385"/>
                </a:lnTo>
                <a:lnTo>
                  <a:pt x="243681" y="994906"/>
                </a:lnTo>
                <a:lnTo>
                  <a:pt x="249237" y="1005221"/>
                </a:lnTo>
                <a:lnTo>
                  <a:pt x="254000" y="1013949"/>
                </a:lnTo>
                <a:lnTo>
                  <a:pt x="257954" y="1018560"/>
                </a:lnTo>
                <a:lnTo>
                  <a:pt x="258077" y="1018746"/>
                </a:lnTo>
                <a:lnTo>
                  <a:pt x="262842" y="1025094"/>
                </a:lnTo>
                <a:lnTo>
                  <a:pt x="263164" y="1025369"/>
                </a:lnTo>
                <a:lnTo>
                  <a:pt x="263525" y="1025851"/>
                </a:lnTo>
                <a:lnTo>
                  <a:pt x="265139" y="1027060"/>
                </a:lnTo>
                <a:lnTo>
                  <a:pt x="268400" y="1029854"/>
                </a:lnTo>
                <a:lnTo>
                  <a:pt x="273165" y="1033028"/>
                </a:lnTo>
                <a:lnTo>
                  <a:pt x="274101" y="1033428"/>
                </a:lnTo>
                <a:lnTo>
                  <a:pt x="274637" y="1033786"/>
                </a:lnTo>
                <a:lnTo>
                  <a:pt x="280194" y="1036166"/>
                </a:lnTo>
                <a:lnTo>
                  <a:pt x="284956" y="1037753"/>
                </a:lnTo>
                <a:lnTo>
                  <a:pt x="290512" y="1037753"/>
                </a:lnTo>
                <a:lnTo>
                  <a:pt x="295275" y="1036166"/>
                </a:lnTo>
                <a:lnTo>
                  <a:pt x="300037" y="1033786"/>
                </a:lnTo>
                <a:lnTo>
                  <a:pt x="304006" y="1030612"/>
                </a:lnTo>
                <a:lnTo>
                  <a:pt x="307181" y="1025851"/>
                </a:lnTo>
                <a:lnTo>
                  <a:pt x="309562" y="1019504"/>
                </a:lnTo>
                <a:lnTo>
                  <a:pt x="311944" y="1012363"/>
                </a:lnTo>
                <a:lnTo>
                  <a:pt x="313531" y="1004428"/>
                </a:lnTo>
                <a:lnTo>
                  <a:pt x="314325" y="995700"/>
                </a:lnTo>
                <a:lnTo>
                  <a:pt x="314325" y="316495"/>
                </a:lnTo>
                <a:lnTo>
                  <a:pt x="311292" y="316495"/>
                </a:lnTo>
                <a:lnTo>
                  <a:pt x="311281" y="313399"/>
                </a:lnTo>
                <a:lnTo>
                  <a:pt x="948931" y="313399"/>
                </a:lnTo>
                <a:lnTo>
                  <a:pt x="956872" y="311813"/>
                </a:lnTo>
                <a:lnTo>
                  <a:pt x="965607" y="311019"/>
                </a:lnTo>
                <a:lnTo>
                  <a:pt x="971960" y="308639"/>
                </a:lnTo>
                <a:lnTo>
                  <a:pt x="978312" y="306259"/>
                </a:lnTo>
                <a:lnTo>
                  <a:pt x="983077" y="303085"/>
                </a:lnTo>
                <a:lnTo>
                  <a:pt x="986253" y="299118"/>
                </a:lnTo>
                <a:lnTo>
                  <a:pt x="988635" y="294358"/>
                </a:lnTo>
                <a:lnTo>
                  <a:pt x="990224" y="289597"/>
                </a:lnTo>
                <a:lnTo>
                  <a:pt x="990224" y="284043"/>
                </a:lnTo>
                <a:lnTo>
                  <a:pt x="989123" y="280744"/>
                </a:lnTo>
                <a:lnTo>
                  <a:pt x="990224" y="277442"/>
                </a:lnTo>
                <a:lnTo>
                  <a:pt x="990224" y="272679"/>
                </a:lnTo>
                <a:lnTo>
                  <a:pt x="988636" y="267123"/>
                </a:lnTo>
                <a:lnTo>
                  <a:pt x="986254" y="262360"/>
                </a:lnTo>
                <a:lnTo>
                  <a:pt x="983077" y="256010"/>
                </a:lnTo>
                <a:lnTo>
                  <a:pt x="978313" y="251248"/>
                </a:lnTo>
                <a:lnTo>
                  <a:pt x="971960" y="245692"/>
                </a:lnTo>
                <a:lnTo>
                  <a:pt x="965608" y="240929"/>
                </a:lnTo>
                <a:lnTo>
                  <a:pt x="958461" y="236167"/>
                </a:lnTo>
                <a:lnTo>
                  <a:pt x="947344" y="229817"/>
                </a:lnTo>
                <a:lnTo>
                  <a:pt x="937815" y="222673"/>
                </a:lnTo>
                <a:lnTo>
                  <a:pt x="925903" y="212354"/>
                </a:lnTo>
                <a:lnTo>
                  <a:pt x="920345" y="205210"/>
                </a:lnTo>
                <a:lnTo>
                  <a:pt x="913992" y="198067"/>
                </a:lnTo>
                <a:lnTo>
                  <a:pt x="908434" y="189335"/>
                </a:lnTo>
                <a:lnTo>
                  <a:pt x="903669" y="180604"/>
                </a:lnTo>
                <a:lnTo>
                  <a:pt x="899699" y="169492"/>
                </a:lnTo>
                <a:lnTo>
                  <a:pt x="896522" y="159173"/>
                </a:lnTo>
                <a:lnTo>
                  <a:pt x="894140" y="147267"/>
                </a:lnTo>
                <a:lnTo>
                  <a:pt x="894140" y="145970"/>
                </a:lnTo>
                <a:lnTo>
                  <a:pt x="894933" y="130914"/>
                </a:lnTo>
                <a:lnTo>
                  <a:pt x="897316" y="116632"/>
                </a:lnTo>
                <a:lnTo>
                  <a:pt x="902080" y="102351"/>
                </a:lnTo>
                <a:lnTo>
                  <a:pt x="908433" y="88863"/>
                </a:lnTo>
                <a:lnTo>
                  <a:pt x="915580" y="76168"/>
                </a:lnTo>
                <a:lnTo>
                  <a:pt x="925109" y="64267"/>
                </a:lnTo>
                <a:lnTo>
                  <a:pt x="935432" y="52366"/>
                </a:lnTo>
                <a:lnTo>
                  <a:pt x="947343" y="42845"/>
                </a:lnTo>
                <a:lnTo>
                  <a:pt x="960842" y="33324"/>
                </a:lnTo>
                <a:lnTo>
                  <a:pt x="973548" y="25389"/>
                </a:lnTo>
                <a:lnTo>
                  <a:pt x="988635" y="16662"/>
                </a:lnTo>
                <a:lnTo>
                  <a:pt x="1005311" y="11108"/>
                </a:lnTo>
                <a:lnTo>
                  <a:pt x="1021987" y="6347"/>
                </a:lnTo>
                <a:lnTo>
                  <a:pt x="1038663" y="2380"/>
                </a:lnTo>
                <a:lnTo>
                  <a:pt x="1057721" y="0"/>
                </a:lnTo>
                <a:lnTo>
                  <a:pt x="1075985" y="0"/>
                </a:lnTo>
                <a:lnTo>
                  <a:pt x="1094249" y="0"/>
                </a:lnTo>
                <a:lnTo>
                  <a:pt x="1112513" y="2380"/>
                </a:lnTo>
                <a:lnTo>
                  <a:pt x="1129982" y="6347"/>
                </a:lnTo>
                <a:lnTo>
                  <a:pt x="1146658" y="11108"/>
                </a:lnTo>
                <a:lnTo>
                  <a:pt x="1162540" y="16662"/>
                </a:lnTo>
                <a:lnTo>
                  <a:pt x="1177628" y="25389"/>
                </a:lnTo>
                <a:lnTo>
                  <a:pt x="1191921" y="33324"/>
                </a:lnTo>
                <a:lnTo>
                  <a:pt x="1204626" y="42845"/>
                </a:lnTo>
                <a:lnTo>
                  <a:pt x="1216538" y="52366"/>
                </a:lnTo>
                <a:lnTo>
                  <a:pt x="1227655" y="64267"/>
                </a:lnTo>
                <a:lnTo>
                  <a:pt x="1235596" y="76168"/>
                </a:lnTo>
                <a:lnTo>
                  <a:pt x="1244331" y="88863"/>
                </a:lnTo>
                <a:lnTo>
                  <a:pt x="1249889" y="102351"/>
                </a:lnTo>
                <a:lnTo>
                  <a:pt x="1254654" y="116632"/>
                </a:lnTo>
                <a:lnTo>
                  <a:pt x="1257036" y="130914"/>
                </a:lnTo>
                <a:lnTo>
                  <a:pt x="1257946" y="139545"/>
                </a:lnTo>
                <a:lnTo>
                  <a:pt x="1257036" y="147267"/>
                </a:lnTo>
                <a:lnTo>
                  <a:pt x="1254654" y="159173"/>
                </a:lnTo>
                <a:lnTo>
                  <a:pt x="1252272" y="169492"/>
                </a:lnTo>
                <a:lnTo>
                  <a:pt x="1247507" y="180604"/>
                </a:lnTo>
                <a:lnTo>
                  <a:pt x="1242743" y="189335"/>
                </a:lnTo>
                <a:lnTo>
                  <a:pt x="1237978" y="198067"/>
                </a:lnTo>
                <a:lnTo>
                  <a:pt x="1232420" y="205210"/>
                </a:lnTo>
                <a:lnTo>
                  <a:pt x="1226067" y="212354"/>
                </a:lnTo>
                <a:lnTo>
                  <a:pt x="1214156" y="222673"/>
                </a:lnTo>
                <a:lnTo>
                  <a:pt x="1203833" y="229817"/>
                </a:lnTo>
                <a:lnTo>
                  <a:pt x="1194304" y="236167"/>
                </a:lnTo>
                <a:lnTo>
                  <a:pt x="1186363" y="240929"/>
                </a:lnTo>
                <a:lnTo>
                  <a:pt x="1179216" y="245692"/>
                </a:lnTo>
                <a:lnTo>
                  <a:pt x="1172864" y="251248"/>
                </a:lnTo>
                <a:lnTo>
                  <a:pt x="1168099" y="256010"/>
                </a:lnTo>
                <a:lnTo>
                  <a:pt x="1164923" y="262360"/>
                </a:lnTo>
                <a:lnTo>
                  <a:pt x="1162540" y="267123"/>
                </a:lnTo>
                <a:lnTo>
                  <a:pt x="1162540" y="272679"/>
                </a:lnTo>
                <a:lnTo>
                  <a:pt x="1162540" y="277442"/>
                </a:lnTo>
                <a:lnTo>
                  <a:pt x="1162753" y="278716"/>
                </a:lnTo>
                <a:lnTo>
                  <a:pt x="1162540" y="279283"/>
                </a:lnTo>
                <a:lnTo>
                  <a:pt x="1162540" y="284043"/>
                </a:lnTo>
                <a:lnTo>
                  <a:pt x="1162540" y="289597"/>
                </a:lnTo>
                <a:lnTo>
                  <a:pt x="1163334" y="294358"/>
                </a:lnTo>
                <a:lnTo>
                  <a:pt x="1165716" y="299118"/>
                </a:lnTo>
                <a:lnTo>
                  <a:pt x="1169687" y="303085"/>
                </a:lnTo>
                <a:lnTo>
                  <a:pt x="1174451" y="306259"/>
                </a:lnTo>
                <a:lnTo>
                  <a:pt x="1179216" y="308639"/>
                </a:lnTo>
                <a:lnTo>
                  <a:pt x="1186362" y="311019"/>
                </a:lnTo>
                <a:lnTo>
                  <a:pt x="1194303" y="311813"/>
                </a:lnTo>
                <a:lnTo>
                  <a:pt x="1203832" y="313399"/>
                </a:lnTo>
                <a:lnTo>
                  <a:pt x="1882776" y="313399"/>
                </a:lnTo>
                <a:close/>
              </a:path>
            </a:pathLst>
          </a:custGeom>
          <a:ln>
            <a:solidFill>
              <a:schemeClr val="tx1">
                <a:lumMod val="50000"/>
                <a:lumOff val="50000"/>
              </a:schemeClr>
            </a:solidFill>
          </a:ln>
        </p:spPr>
      </p:pic>
      <p:pic>
        <p:nvPicPr>
          <p:cNvPr id="6" name="Picture 5">
            <a:extLst>
              <a:ext uri="{FF2B5EF4-FFF2-40B4-BE49-F238E27FC236}">
                <a16:creationId xmlns:a16="http://schemas.microsoft.com/office/drawing/2014/main" id="{6F8D05FE-7F1A-4BB5-A6D5-F107B0FCDD8F}"/>
              </a:ext>
            </a:extLst>
          </p:cNvPr>
          <p:cNvPicPr>
            <a:picLocks noChangeAspect="1"/>
          </p:cNvPicPr>
          <p:nvPr/>
        </p:nvPicPr>
        <p:blipFill rotWithShape="1">
          <a:blip r:embed="rId2"/>
          <a:srcRect l="61224" t="45286" r="3907" b="25101"/>
          <a:stretch/>
        </p:blipFill>
        <p:spPr>
          <a:xfrm rot="884635">
            <a:off x="306193" y="2954676"/>
            <a:ext cx="1746556" cy="2323866"/>
          </a:xfrm>
          <a:custGeom>
            <a:avLst/>
            <a:gdLst>
              <a:gd name="connsiteX0" fmla="*/ 1880293 w 1880293"/>
              <a:gd name="connsiteY0" fmla="*/ 313400 h 1885950"/>
              <a:gd name="connsiteX1" fmla="*/ 1880293 w 1880293"/>
              <a:gd name="connsiteY1" fmla="*/ 1885950 h 1885950"/>
              <a:gd name="connsiteX2" fmla="*/ 1169587 w 1880293"/>
              <a:gd name="connsiteY2" fmla="*/ 1885950 h 1885950"/>
              <a:gd name="connsiteX3" fmla="*/ 1163234 w 1880293"/>
              <a:gd name="connsiteY3" fmla="*/ 1880396 h 1885950"/>
              <a:gd name="connsiteX4" fmla="*/ 1160891 w 1880293"/>
              <a:gd name="connsiteY4" fmla="*/ 1875713 h 1885950"/>
              <a:gd name="connsiteX5" fmla="*/ 1160891 w 1880293"/>
              <a:gd name="connsiteY5" fmla="*/ 1871451 h 1885950"/>
              <a:gd name="connsiteX6" fmla="*/ 1162479 w 1880293"/>
              <a:gd name="connsiteY6" fmla="*/ 1866687 h 1885950"/>
              <a:gd name="connsiteX7" fmla="*/ 1164862 w 1880293"/>
              <a:gd name="connsiteY7" fmla="*/ 1861128 h 1885950"/>
              <a:gd name="connsiteX8" fmla="*/ 1168038 w 1880293"/>
              <a:gd name="connsiteY8" fmla="*/ 1856364 h 1885950"/>
              <a:gd name="connsiteX9" fmla="*/ 1172803 w 1880293"/>
              <a:gd name="connsiteY9" fmla="*/ 1850011 h 1885950"/>
              <a:gd name="connsiteX10" fmla="*/ 1179156 w 1880293"/>
              <a:gd name="connsiteY10" fmla="*/ 1845247 h 1885950"/>
              <a:gd name="connsiteX11" fmla="*/ 1186304 w 1880293"/>
              <a:gd name="connsiteY11" fmla="*/ 1840482 h 1885950"/>
              <a:gd name="connsiteX12" fmla="*/ 1194245 w 1880293"/>
              <a:gd name="connsiteY12" fmla="*/ 1835718 h 1885950"/>
              <a:gd name="connsiteX13" fmla="*/ 1203775 w 1880293"/>
              <a:gd name="connsiteY13" fmla="*/ 1830159 h 1885950"/>
              <a:gd name="connsiteX14" fmla="*/ 1214099 w 1880293"/>
              <a:gd name="connsiteY14" fmla="*/ 1823012 h 1885950"/>
              <a:gd name="connsiteX15" fmla="*/ 1226011 w 1880293"/>
              <a:gd name="connsiteY15" fmla="*/ 1811101 h 1885950"/>
              <a:gd name="connsiteX16" fmla="*/ 1232364 w 1880293"/>
              <a:gd name="connsiteY16" fmla="*/ 1804748 h 1885950"/>
              <a:gd name="connsiteX17" fmla="*/ 1237129 w 1880293"/>
              <a:gd name="connsiteY17" fmla="*/ 1796807 h 1885950"/>
              <a:gd name="connsiteX18" fmla="*/ 1242688 w 1880293"/>
              <a:gd name="connsiteY18" fmla="*/ 1788073 h 1885950"/>
              <a:gd name="connsiteX19" fmla="*/ 1247453 w 1880293"/>
              <a:gd name="connsiteY19" fmla="*/ 1779338 h 1885950"/>
              <a:gd name="connsiteX20" fmla="*/ 1251424 w 1880293"/>
              <a:gd name="connsiteY20" fmla="*/ 1769809 h 1885950"/>
              <a:gd name="connsiteX21" fmla="*/ 1254601 w 1880293"/>
              <a:gd name="connsiteY21" fmla="*/ 1758691 h 1885950"/>
              <a:gd name="connsiteX22" fmla="*/ 1256983 w 1880293"/>
              <a:gd name="connsiteY22" fmla="*/ 1745986 h 1885950"/>
              <a:gd name="connsiteX23" fmla="*/ 1256983 w 1880293"/>
              <a:gd name="connsiteY23" fmla="*/ 1732487 h 1885950"/>
              <a:gd name="connsiteX24" fmla="*/ 1256983 w 1880293"/>
              <a:gd name="connsiteY24" fmla="*/ 1718193 h 1885950"/>
              <a:gd name="connsiteX25" fmla="*/ 1253807 w 1880293"/>
              <a:gd name="connsiteY25" fmla="*/ 1703900 h 1885950"/>
              <a:gd name="connsiteX26" fmla="*/ 1249836 w 1880293"/>
              <a:gd name="connsiteY26" fmla="*/ 1689606 h 1885950"/>
              <a:gd name="connsiteX27" fmla="*/ 1248605 w 1880293"/>
              <a:gd name="connsiteY27" fmla="*/ 1687144 h 1885950"/>
              <a:gd name="connsiteX28" fmla="*/ 1247407 w 1880293"/>
              <a:gd name="connsiteY28" fmla="*/ 1682836 h 1885950"/>
              <a:gd name="connsiteX29" fmla="*/ 1240261 w 1880293"/>
              <a:gd name="connsiteY29" fmla="*/ 1670141 h 1885950"/>
              <a:gd name="connsiteX30" fmla="*/ 1233114 w 1880293"/>
              <a:gd name="connsiteY30" fmla="*/ 1657446 h 1885950"/>
              <a:gd name="connsiteX31" fmla="*/ 1223585 w 1880293"/>
              <a:gd name="connsiteY31" fmla="*/ 1645545 h 1885950"/>
              <a:gd name="connsiteX32" fmla="*/ 1213262 w 1880293"/>
              <a:gd name="connsiteY32" fmla="*/ 1634437 h 1885950"/>
              <a:gd name="connsiteX33" fmla="*/ 1201350 w 1880293"/>
              <a:gd name="connsiteY33" fmla="*/ 1624123 h 1885950"/>
              <a:gd name="connsiteX34" fmla="*/ 1189439 w 1880293"/>
              <a:gd name="connsiteY34" fmla="*/ 1614602 h 1885950"/>
              <a:gd name="connsiteX35" fmla="*/ 1175146 w 1880293"/>
              <a:gd name="connsiteY35" fmla="*/ 1605874 h 1885950"/>
              <a:gd name="connsiteX36" fmla="*/ 1160058 w 1880293"/>
              <a:gd name="connsiteY36" fmla="*/ 1598734 h 1885950"/>
              <a:gd name="connsiteX37" fmla="*/ 1144176 w 1880293"/>
              <a:gd name="connsiteY37" fmla="*/ 1591593 h 1885950"/>
              <a:gd name="connsiteX38" fmla="*/ 1127500 w 1880293"/>
              <a:gd name="connsiteY38" fmla="*/ 1586832 h 1885950"/>
              <a:gd name="connsiteX39" fmla="*/ 1110031 w 1880293"/>
              <a:gd name="connsiteY39" fmla="*/ 1583659 h 1885950"/>
              <a:gd name="connsiteX40" fmla="*/ 1091767 w 1880293"/>
              <a:gd name="connsiteY40" fmla="*/ 1581278 h 1885950"/>
              <a:gd name="connsiteX41" fmla="*/ 1073503 w 1880293"/>
              <a:gd name="connsiteY41" fmla="*/ 1581278 h 1885950"/>
              <a:gd name="connsiteX42" fmla="*/ 1054445 w 1880293"/>
              <a:gd name="connsiteY42" fmla="*/ 1581278 h 1885950"/>
              <a:gd name="connsiteX43" fmla="*/ 1036181 w 1880293"/>
              <a:gd name="connsiteY43" fmla="*/ 1583659 h 1885950"/>
              <a:gd name="connsiteX44" fmla="*/ 1018711 w 1880293"/>
              <a:gd name="connsiteY44" fmla="*/ 1586832 h 1885950"/>
              <a:gd name="connsiteX45" fmla="*/ 1002035 w 1880293"/>
              <a:gd name="connsiteY45" fmla="*/ 1591593 h 1885950"/>
              <a:gd name="connsiteX46" fmla="*/ 986153 w 1880293"/>
              <a:gd name="connsiteY46" fmla="*/ 1598734 h 1885950"/>
              <a:gd name="connsiteX47" fmla="*/ 971066 w 1880293"/>
              <a:gd name="connsiteY47" fmla="*/ 1605874 h 1885950"/>
              <a:gd name="connsiteX48" fmla="*/ 956772 w 1880293"/>
              <a:gd name="connsiteY48" fmla="*/ 1614602 h 1885950"/>
              <a:gd name="connsiteX49" fmla="*/ 944067 w 1880293"/>
              <a:gd name="connsiteY49" fmla="*/ 1624123 h 1885950"/>
              <a:gd name="connsiteX50" fmla="*/ 932950 w 1880293"/>
              <a:gd name="connsiteY50" fmla="*/ 1634437 h 1885950"/>
              <a:gd name="connsiteX51" fmla="*/ 922627 w 1880293"/>
              <a:gd name="connsiteY51" fmla="*/ 1645545 h 1885950"/>
              <a:gd name="connsiteX52" fmla="*/ 913098 w 1880293"/>
              <a:gd name="connsiteY52" fmla="*/ 1657446 h 1885950"/>
              <a:gd name="connsiteX53" fmla="*/ 905951 w 1880293"/>
              <a:gd name="connsiteY53" fmla="*/ 1670141 h 1885950"/>
              <a:gd name="connsiteX54" fmla="*/ 898804 w 1880293"/>
              <a:gd name="connsiteY54" fmla="*/ 1682836 h 1885950"/>
              <a:gd name="connsiteX55" fmla="*/ 894834 w 1880293"/>
              <a:gd name="connsiteY55" fmla="*/ 1697117 h 1885950"/>
              <a:gd name="connsiteX56" fmla="*/ 891657 w 1880293"/>
              <a:gd name="connsiteY56" fmla="*/ 1711399 h 1885950"/>
              <a:gd name="connsiteX57" fmla="*/ 891657 w 1880293"/>
              <a:gd name="connsiteY57" fmla="*/ 1727267 h 1885950"/>
              <a:gd name="connsiteX58" fmla="*/ 891657 w 1880293"/>
              <a:gd name="connsiteY58" fmla="*/ 1739962 h 1885950"/>
              <a:gd name="connsiteX59" fmla="*/ 894040 w 1880293"/>
              <a:gd name="connsiteY59" fmla="*/ 1751863 h 1885950"/>
              <a:gd name="connsiteX60" fmla="*/ 896422 w 1880293"/>
              <a:gd name="connsiteY60" fmla="*/ 1762971 h 1885950"/>
              <a:gd name="connsiteX61" fmla="*/ 898164 w 1880293"/>
              <a:gd name="connsiteY61" fmla="*/ 1766741 h 1885950"/>
              <a:gd name="connsiteX62" fmla="*/ 898821 w 1880293"/>
              <a:gd name="connsiteY62" fmla="*/ 1769809 h 1885950"/>
              <a:gd name="connsiteX63" fmla="*/ 903586 w 1880293"/>
              <a:gd name="connsiteY63" fmla="*/ 1779338 h 1885950"/>
              <a:gd name="connsiteX64" fmla="*/ 908350 w 1880293"/>
              <a:gd name="connsiteY64" fmla="*/ 1788073 h 1885950"/>
              <a:gd name="connsiteX65" fmla="*/ 913910 w 1880293"/>
              <a:gd name="connsiteY65" fmla="*/ 1796807 h 1885950"/>
              <a:gd name="connsiteX66" fmla="*/ 918674 w 1880293"/>
              <a:gd name="connsiteY66" fmla="*/ 1804748 h 1885950"/>
              <a:gd name="connsiteX67" fmla="*/ 925028 w 1880293"/>
              <a:gd name="connsiteY67" fmla="*/ 1811101 h 1885950"/>
              <a:gd name="connsiteX68" fmla="*/ 936940 w 1880293"/>
              <a:gd name="connsiteY68" fmla="*/ 1823012 h 1885950"/>
              <a:gd name="connsiteX69" fmla="*/ 947264 w 1880293"/>
              <a:gd name="connsiteY69" fmla="*/ 1830159 h 1885950"/>
              <a:gd name="connsiteX70" fmla="*/ 956794 w 1880293"/>
              <a:gd name="connsiteY70" fmla="*/ 1835718 h 1885950"/>
              <a:gd name="connsiteX71" fmla="*/ 965529 w 1880293"/>
              <a:gd name="connsiteY71" fmla="*/ 1840482 h 1885950"/>
              <a:gd name="connsiteX72" fmla="*/ 971883 w 1880293"/>
              <a:gd name="connsiteY72" fmla="*/ 1845247 h 1885950"/>
              <a:gd name="connsiteX73" fmla="*/ 978236 w 1880293"/>
              <a:gd name="connsiteY73" fmla="*/ 1850011 h 1885950"/>
              <a:gd name="connsiteX74" fmla="*/ 983001 w 1880293"/>
              <a:gd name="connsiteY74" fmla="*/ 1856364 h 1885950"/>
              <a:gd name="connsiteX75" fmla="*/ 985866 w 1880293"/>
              <a:gd name="connsiteY75" fmla="*/ 1860661 h 1885950"/>
              <a:gd name="connsiteX76" fmla="*/ 987742 w 1880293"/>
              <a:gd name="connsiteY76" fmla="*/ 1866908 h 1885950"/>
              <a:gd name="connsiteX77" fmla="*/ 986153 w 1880293"/>
              <a:gd name="connsiteY77" fmla="*/ 1874049 h 1885950"/>
              <a:gd name="connsiteX78" fmla="*/ 982977 w 1880293"/>
              <a:gd name="connsiteY78" fmla="*/ 1880396 h 1885950"/>
              <a:gd name="connsiteX79" fmla="*/ 976624 w 1880293"/>
              <a:gd name="connsiteY79" fmla="*/ 1885950 h 1885950"/>
              <a:gd name="connsiteX80" fmla="*/ 311181 w 1880293"/>
              <a:gd name="connsiteY80" fmla="*/ 1885950 h 1885950"/>
              <a:gd name="connsiteX81" fmla="*/ 311181 w 1880293"/>
              <a:gd name="connsiteY81" fmla="*/ 1881384 h 1885950"/>
              <a:gd name="connsiteX82" fmla="*/ 314325 w 1880293"/>
              <a:gd name="connsiteY82" fmla="*/ 1881384 h 1885950"/>
              <a:gd name="connsiteX83" fmla="*/ 314325 w 1880293"/>
              <a:gd name="connsiteY83" fmla="*/ 1245819 h 1885950"/>
              <a:gd name="connsiteX84" fmla="*/ 313531 w 1880293"/>
              <a:gd name="connsiteY84" fmla="*/ 1236298 h 1885950"/>
              <a:gd name="connsiteX85" fmla="*/ 311944 w 1880293"/>
              <a:gd name="connsiteY85" fmla="*/ 1227569 h 1885950"/>
              <a:gd name="connsiteX86" fmla="*/ 309562 w 1880293"/>
              <a:gd name="connsiteY86" fmla="*/ 1220428 h 1885950"/>
              <a:gd name="connsiteX87" fmla="*/ 307181 w 1880293"/>
              <a:gd name="connsiteY87" fmla="*/ 1215668 h 1885950"/>
              <a:gd name="connsiteX88" fmla="*/ 304006 w 1880293"/>
              <a:gd name="connsiteY88" fmla="*/ 1210907 h 1885950"/>
              <a:gd name="connsiteX89" fmla="*/ 300037 w 1880293"/>
              <a:gd name="connsiteY89" fmla="*/ 1207733 h 1885950"/>
              <a:gd name="connsiteX90" fmla="*/ 295275 w 1880293"/>
              <a:gd name="connsiteY90" fmla="*/ 1205352 h 1885950"/>
              <a:gd name="connsiteX91" fmla="*/ 290512 w 1880293"/>
              <a:gd name="connsiteY91" fmla="*/ 1203766 h 1885950"/>
              <a:gd name="connsiteX92" fmla="*/ 284956 w 1880293"/>
              <a:gd name="connsiteY92" fmla="*/ 1203766 h 1885950"/>
              <a:gd name="connsiteX93" fmla="*/ 280194 w 1880293"/>
              <a:gd name="connsiteY93" fmla="*/ 1205352 h 1885950"/>
              <a:gd name="connsiteX94" fmla="*/ 274637 w 1880293"/>
              <a:gd name="connsiteY94" fmla="*/ 1206146 h 1885950"/>
              <a:gd name="connsiteX95" fmla="*/ 269875 w 1880293"/>
              <a:gd name="connsiteY95" fmla="*/ 1210113 h 1885950"/>
              <a:gd name="connsiteX96" fmla="*/ 263525 w 1880293"/>
              <a:gd name="connsiteY96" fmla="*/ 1214874 h 1885950"/>
              <a:gd name="connsiteX97" fmla="*/ 258762 w 1880293"/>
              <a:gd name="connsiteY97" fmla="*/ 1220428 h 1885950"/>
              <a:gd name="connsiteX98" fmla="*/ 255879 w 1880293"/>
              <a:gd name="connsiteY98" fmla="*/ 1224751 h 1885950"/>
              <a:gd name="connsiteX99" fmla="*/ 255595 w 1880293"/>
              <a:gd name="connsiteY99" fmla="*/ 1225035 h 1885950"/>
              <a:gd name="connsiteX100" fmla="*/ 250831 w 1880293"/>
              <a:gd name="connsiteY100" fmla="*/ 1232175 h 1885950"/>
              <a:gd name="connsiteX101" fmla="*/ 247958 w 1880293"/>
              <a:gd name="connsiteY101" fmla="*/ 1238490 h 1885950"/>
              <a:gd name="connsiteX102" fmla="*/ 243681 w 1880293"/>
              <a:gd name="connsiteY102" fmla="*/ 1245819 h 1885950"/>
              <a:gd name="connsiteX103" fmla="*/ 236855 w 1880293"/>
              <a:gd name="connsiteY103" fmla="*/ 1255675 h 1885950"/>
              <a:gd name="connsiteX104" fmla="*/ 235775 w 1880293"/>
              <a:gd name="connsiteY104" fmla="*/ 1256951 h 1885950"/>
              <a:gd name="connsiteX105" fmla="*/ 225425 w 1880293"/>
              <a:gd name="connsiteY105" fmla="*/ 1268036 h 1885950"/>
              <a:gd name="connsiteX106" fmla="*/ 218281 w 1880293"/>
              <a:gd name="connsiteY106" fmla="*/ 1274384 h 1885950"/>
              <a:gd name="connsiteX107" fmla="*/ 211137 w 1880293"/>
              <a:gd name="connsiteY107" fmla="*/ 1279938 h 1885950"/>
              <a:gd name="connsiteX108" fmla="*/ 203200 w 1880293"/>
              <a:gd name="connsiteY108" fmla="*/ 1284699 h 1885950"/>
              <a:gd name="connsiteX109" fmla="*/ 193675 w 1880293"/>
              <a:gd name="connsiteY109" fmla="*/ 1289460 h 1885950"/>
              <a:gd name="connsiteX110" fmla="*/ 182562 w 1880293"/>
              <a:gd name="connsiteY110" fmla="*/ 1294220 h 1885950"/>
              <a:gd name="connsiteX111" fmla="*/ 172244 w 1880293"/>
              <a:gd name="connsiteY111" fmla="*/ 1296601 h 1885950"/>
              <a:gd name="connsiteX112" fmla="*/ 160337 w 1880293"/>
              <a:gd name="connsiteY112" fmla="*/ 1298981 h 1885950"/>
              <a:gd name="connsiteX113" fmla="*/ 147637 w 1880293"/>
              <a:gd name="connsiteY113" fmla="*/ 1300568 h 1885950"/>
              <a:gd name="connsiteX114" fmla="*/ 131762 w 1880293"/>
              <a:gd name="connsiteY114" fmla="*/ 1298981 h 1885950"/>
              <a:gd name="connsiteX115" fmla="*/ 117475 w 1880293"/>
              <a:gd name="connsiteY115" fmla="*/ 1296601 h 1885950"/>
              <a:gd name="connsiteX116" fmla="*/ 103187 w 1880293"/>
              <a:gd name="connsiteY116" fmla="*/ 1291840 h 1885950"/>
              <a:gd name="connsiteX117" fmla="*/ 90487 w 1880293"/>
              <a:gd name="connsiteY117" fmla="*/ 1286286 h 1885950"/>
              <a:gd name="connsiteX118" fmla="*/ 76994 w 1880293"/>
              <a:gd name="connsiteY118" fmla="*/ 1277558 h 1885950"/>
              <a:gd name="connsiteX119" fmla="*/ 65087 w 1880293"/>
              <a:gd name="connsiteY119" fmla="*/ 1269623 h 1885950"/>
              <a:gd name="connsiteX120" fmla="*/ 53181 w 1880293"/>
              <a:gd name="connsiteY120" fmla="*/ 1258515 h 1885950"/>
              <a:gd name="connsiteX121" fmla="*/ 44450 w 1880293"/>
              <a:gd name="connsiteY121" fmla="*/ 1246613 h 1885950"/>
              <a:gd name="connsiteX122" fmla="*/ 34925 w 1880293"/>
              <a:gd name="connsiteY122" fmla="*/ 1233917 h 1885950"/>
              <a:gd name="connsiteX123" fmla="*/ 26194 w 1880293"/>
              <a:gd name="connsiteY123" fmla="*/ 1219635 h 1885950"/>
              <a:gd name="connsiteX124" fmla="*/ 18256 w 1880293"/>
              <a:gd name="connsiteY124" fmla="*/ 1203766 h 1885950"/>
              <a:gd name="connsiteX125" fmla="*/ 11906 w 1880293"/>
              <a:gd name="connsiteY125" fmla="*/ 1188690 h 1885950"/>
              <a:gd name="connsiteX126" fmla="*/ 7144 w 1880293"/>
              <a:gd name="connsiteY126" fmla="*/ 1172027 h 1885950"/>
              <a:gd name="connsiteX127" fmla="*/ 3969 w 1880293"/>
              <a:gd name="connsiteY127" fmla="*/ 1154571 h 1885950"/>
              <a:gd name="connsiteX128" fmla="*/ 1587 w 1880293"/>
              <a:gd name="connsiteY128" fmla="*/ 1136321 h 1885950"/>
              <a:gd name="connsiteX129" fmla="*/ 0 w 1880293"/>
              <a:gd name="connsiteY129" fmla="*/ 1117278 h 1885950"/>
              <a:gd name="connsiteX130" fmla="*/ 1587 w 1880293"/>
              <a:gd name="connsiteY130" fmla="*/ 1099822 h 1885950"/>
              <a:gd name="connsiteX131" fmla="*/ 3969 w 1880293"/>
              <a:gd name="connsiteY131" fmla="*/ 1080779 h 1885950"/>
              <a:gd name="connsiteX132" fmla="*/ 7144 w 1880293"/>
              <a:gd name="connsiteY132" fmla="*/ 1064116 h 1885950"/>
              <a:gd name="connsiteX133" fmla="*/ 11906 w 1880293"/>
              <a:gd name="connsiteY133" fmla="*/ 1047453 h 1885950"/>
              <a:gd name="connsiteX134" fmla="*/ 18256 w 1880293"/>
              <a:gd name="connsiteY134" fmla="*/ 1030790 h 1885950"/>
              <a:gd name="connsiteX135" fmla="*/ 26194 w 1880293"/>
              <a:gd name="connsiteY135" fmla="*/ 1015715 h 1885950"/>
              <a:gd name="connsiteX136" fmla="*/ 34925 w 1880293"/>
              <a:gd name="connsiteY136" fmla="*/ 1002226 h 1885950"/>
              <a:gd name="connsiteX137" fmla="*/ 44450 w 1880293"/>
              <a:gd name="connsiteY137" fmla="*/ 989530 h 1885950"/>
              <a:gd name="connsiteX138" fmla="*/ 44692 w 1880293"/>
              <a:gd name="connsiteY138" fmla="*/ 989200 h 1885950"/>
              <a:gd name="connsiteX139" fmla="*/ 50721 w 1880293"/>
              <a:gd name="connsiteY139" fmla="*/ 982249 h 1885950"/>
              <a:gd name="connsiteX140" fmla="*/ 61839 w 1880293"/>
              <a:gd name="connsiteY140" fmla="*/ 971935 h 1885950"/>
              <a:gd name="connsiteX141" fmla="*/ 73750 w 1880293"/>
              <a:gd name="connsiteY141" fmla="*/ 962414 h 1885950"/>
              <a:gd name="connsiteX142" fmla="*/ 86455 w 1880293"/>
              <a:gd name="connsiteY142" fmla="*/ 955273 h 1885950"/>
              <a:gd name="connsiteX143" fmla="*/ 99955 w 1880293"/>
              <a:gd name="connsiteY143" fmla="*/ 948926 h 1885950"/>
              <a:gd name="connsiteX144" fmla="*/ 114248 w 1880293"/>
              <a:gd name="connsiteY144" fmla="*/ 944165 h 1885950"/>
              <a:gd name="connsiteX145" fmla="*/ 128542 w 1880293"/>
              <a:gd name="connsiteY145" fmla="*/ 940992 h 1885950"/>
              <a:gd name="connsiteX146" fmla="*/ 143629 w 1880293"/>
              <a:gd name="connsiteY146" fmla="*/ 940992 h 1885950"/>
              <a:gd name="connsiteX147" fmla="*/ 156335 w 1880293"/>
              <a:gd name="connsiteY147" fmla="*/ 940992 h 1885950"/>
              <a:gd name="connsiteX148" fmla="*/ 168246 w 1880293"/>
              <a:gd name="connsiteY148" fmla="*/ 943372 h 1885950"/>
              <a:gd name="connsiteX149" fmla="*/ 180157 w 1880293"/>
              <a:gd name="connsiteY149" fmla="*/ 946546 h 1885950"/>
              <a:gd name="connsiteX150" fmla="*/ 189686 w 1880293"/>
              <a:gd name="connsiteY150" fmla="*/ 950513 h 1885950"/>
              <a:gd name="connsiteX151" fmla="*/ 199215 w 1880293"/>
              <a:gd name="connsiteY151" fmla="*/ 955273 h 1885950"/>
              <a:gd name="connsiteX152" fmla="*/ 207950 w 1880293"/>
              <a:gd name="connsiteY152" fmla="*/ 960827 h 1885950"/>
              <a:gd name="connsiteX153" fmla="*/ 215097 w 1880293"/>
              <a:gd name="connsiteY153" fmla="*/ 965588 h 1885950"/>
              <a:gd name="connsiteX154" fmla="*/ 222244 w 1880293"/>
              <a:gd name="connsiteY154" fmla="*/ 971935 h 1885950"/>
              <a:gd name="connsiteX155" fmla="*/ 232567 w 1880293"/>
              <a:gd name="connsiteY155" fmla="*/ 983043 h 1885950"/>
              <a:gd name="connsiteX156" fmla="*/ 241302 w 1880293"/>
              <a:gd name="connsiteY156" fmla="*/ 994151 h 1885950"/>
              <a:gd name="connsiteX157" fmla="*/ 246860 w 1880293"/>
              <a:gd name="connsiteY157" fmla="*/ 1003672 h 1885950"/>
              <a:gd name="connsiteX158" fmla="*/ 250831 w 1880293"/>
              <a:gd name="connsiteY158" fmla="*/ 1011606 h 1885950"/>
              <a:gd name="connsiteX159" fmla="*/ 255595 w 1880293"/>
              <a:gd name="connsiteY159" fmla="*/ 1018746 h 1885950"/>
              <a:gd name="connsiteX160" fmla="*/ 260360 w 1880293"/>
              <a:gd name="connsiteY160" fmla="*/ 1025094 h 1885950"/>
              <a:gd name="connsiteX161" fmla="*/ 265918 w 1880293"/>
              <a:gd name="connsiteY161" fmla="*/ 1029854 h 1885950"/>
              <a:gd name="connsiteX162" fmla="*/ 270683 w 1880293"/>
              <a:gd name="connsiteY162" fmla="*/ 1033028 h 1885950"/>
              <a:gd name="connsiteX163" fmla="*/ 276242 w 1880293"/>
              <a:gd name="connsiteY163" fmla="*/ 1035408 h 1885950"/>
              <a:gd name="connsiteX164" fmla="*/ 281006 w 1880293"/>
              <a:gd name="connsiteY164" fmla="*/ 1036995 h 1885950"/>
              <a:gd name="connsiteX165" fmla="*/ 287359 w 1880293"/>
              <a:gd name="connsiteY165" fmla="*/ 1036995 h 1885950"/>
              <a:gd name="connsiteX166" fmla="*/ 292123 w 1880293"/>
              <a:gd name="connsiteY166" fmla="*/ 1035408 h 1885950"/>
              <a:gd name="connsiteX167" fmla="*/ 295300 w 1880293"/>
              <a:gd name="connsiteY167" fmla="*/ 1033028 h 1885950"/>
              <a:gd name="connsiteX168" fmla="*/ 300064 w 1880293"/>
              <a:gd name="connsiteY168" fmla="*/ 1029854 h 1885950"/>
              <a:gd name="connsiteX169" fmla="*/ 303738 w 1880293"/>
              <a:gd name="connsiteY169" fmla="*/ 1025451 h 1885950"/>
              <a:gd name="connsiteX170" fmla="*/ 304006 w 1880293"/>
              <a:gd name="connsiteY170" fmla="*/ 1025236 h 1885950"/>
              <a:gd name="connsiteX171" fmla="*/ 307181 w 1880293"/>
              <a:gd name="connsiteY171" fmla="*/ 1020475 h 1885950"/>
              <a:gd name="connsiteX172" fmla="*/ 309562 w 1880293"/>
              <a:gd name="connsiteY172" fmla="*/ 1014128 h 1885950"/>
              <a:gd name="connsiteX173" fmla="*/ 311944 w 1880293"/>
              <a:gd name="connsiteY173" fmla="*/ 1006987 h 1885950"/>
              <a:gd name="connsiteX174" fmla="*/ 313531 w 1880293"/>
              <a:gd name="connsiteY174" fmla="*/ 999052 h 1885950"/>
              <a:gd name="connsiteX175" fmla="*/ 314325 w 1880293"/>
              <a:gd name="connsiteY175" fmla="*/ 990324 h 1885950"/>
              <a:gd name="connsiteX176" fmla="*/ 314325 w 1880293"/>
              <a:gd name="connsiteY176" fmla="*/ 313400 h 1885950"/>
              <a:gd name="connsiteX177" fmla="*/ 946449 w 1880293"/>
              <a:gd name="connsiteY177" fmla="*/ 313400 h 1885950"/>
              <a:gd name="connsiteX178" fmla="*/ 954390 w 1880293"/>
              <a:gd name="connsiteY178" fmla="*/ 311813 h 1885950"/>
              <a:gd name="connsiteX179" fmla="*/ 963125 w 1880293"/>
              <a:gd name="connsiteY179" fmla="*/ 311019 h 1885950"/>
              <a:gd name="connsiteX180" fmla="*/ 969478 w 1880293"/>
              <a:gd name="connsiteY180" fmla="*/ 308639 h 1885950"/>
              <a:gd name="connsiteX181" fmla="*/ 975830 w 1880293"/>
              <a:gd name="connsiteY181" fmla="*/ 306259 h 1885950"/>
              <a:gd name="connsiteX182" fmla="*/ 980595 w 1880293"/>
              <a:gd name="connsiteY182" fmla="*/ 303085 h 1885950"/>
              <a:gd name="connsiteX183" fmla="*/ 983771 w 1880293"/>
              <a:gd name="connsiteY183" fmla="*/ 299118 h 1885950"/>
              <a:gd name="connsiteX184" fmla="*/ 986153 w 1880293"/>
              <a:gd name="connsiteY184" fmla="*/ 294358 h 1885950"/>
              <a:gd name="connsiteX185" fmla="*/ 987742 w 1880293"/>
              <a:gd name="connsiteY185" fmla="*/ 289597 h 1885950"/>
              <a:gd name="connsiteX186" fmla="*/ 987742 w 1880293"/>
              <a:gd name="connsiteY186" fmla="*/ 284043 h 1885950"/>
              <a:gd name="connsiteX187" fmla="*/ 987575 w 1880293"/>
              <a:gd name="connsiteY187" fmla="*/ 283541 h 1885950"/>
              <a:gd name="connsiteX188" fmla="*/ 988635 w 1880293"/>
              <a:gd name="connsiteY188" fmla="*/ 281422 h 1885950"/>
              <a:gd name="connsiteX189" fmla="*/ 990224 w 1880293"/>
              <a:gd name="connsiteY189" fmla="*/ 274281 h 1885950"/>
              <a:gd name="connsiteX190" fmla="*/ 987841 w 1880293"/>
              <a:gd name="connsiteY190" fmla="*/ 266347 h 1885950"/>
              <a:gd name="connsiteX191" fmla="*/ 983871 w 1880293"/>
              <a:gd name="connsiteY191" fmla="*/ 259206 h 1885950"/>
              <a:gd name="connsiteX192" fmla="*/ 978312 w 1880293"/>
              <a:gd name="connsiteY192" fmla="*/ 250479 h 1885950"/>
              <a:gd name="connsiteX193" fmla="*/ 968783 w 1880293"/>
              <a:gd name="connsiteY193" fmla="*/ 243338 h 1885950"/>
              <a:gd name="connsiteX194" fmla="*/ 956872 w 1880293"/>
              <a:gd name="connsiteY194" fmla="*/ 236197 h 1885950"/>
              <a:gd name="connsiteX195" fmla="*/ 947343 w 1880293"/>
              <a:gd name="connsiteY195" fmla="*/ 230643 h 1885950"/>
              <a:gd name="connsiteX196" fmla="*/ 937020 w 1880293"/>
              <a:gd name="connsiteY196" fmla="*/ 223503 h 1885950"/>
              <a:gd name="connsiteX197" fmla="*/ 925109 w 1880293"/>
              <a:gd name="connsiteY197" fmla="*/ 212395 h 1885950"/>
              <a:gd name="connsiteX198" fmla="*/ 918756 w 1880293"/>
              <a:gd name="connsiteY198" fmla="*/ 205254 h 1885950"/>
              <a:gd name="connsiteX199" fmla="*/ 913991 w 1880293"/>
              <a:gd name="connsiteY199" fmla="*/ 198113 h 1885950"/>
              <a:gd name="connsiteX200" fmla="*/ 908433 w 1880293"/>
              <a:gd name="connsiteY200" fmla="*/ 190179 h 1885950"/>
              <a:gd name="connsiteX201" fmla="*/ 903668 w 1880293"/>
              <a:gd name="connsiteY201" fmla="*/ 180658 h 1885950"/>
              <a:gd name="connsiteX202" fmla="*/ 898904 w 1880293"/>
              <a:gd name="connsiteY202" fmla="*/ 170344 h 1885950"/>
              <a:gd name="connsiteX203" fmla="*/ 896522 w 1880293"/>
              <a:gd name="connsiteY203" fmla="*/ 159236 h 1885950"/>
              <a:gd name="connsiteX204" fmla="*/ 894139 w 1880293"/>
              <a:gd name="connsiteY204" fmla="*/ 147335 h 1885950"/>
              <a:gd name="connsiteX205" fmla="*/ 894139 w 1880293"/>
              <a:gd name="connsiteY205" fmla="*/ 134640 h 1885950"/>
              <a:gd name="connsiteX206" fmla="*/ 894139 w 1880293"/>
              <a:gd name="connsiteY206" fmla="*/ 120797 h 1885950"/>
              <a:gd name="connsiteX207" fmla="*/ 894834 w 1880293"/>
              <a:gd name="connsiteY207" fmla="*/ 116632 h 1885950"/>
              <a:gd name="connsiteX208" fmla="*/ 899598 w 1880293"/>
              <a:gd name="connsiteY208" fmla="*/ 102351 h 1885950"/>
              <a:gd name="connsiteX209" fmla="*/ 905951 w 1880293"/>
              <a:gd name="connsiteY209" fmla="*/ 88863 h 1885950"/>
              <a:gd name="connsiteX210" fmla="*/ 913098 w 1880293"/>
              <a:gd name="connsiteY210" fmla="*/ 76168 h 1885950"/>
              <a:gd name="connsiteX211" fmla="*/ 922627 w 1880293"/>
              <a:gd name="connsiteY211" fmla="*/ 64267 h 1885950"/>
              <a:gd name="connsiteX212" fmla="*/ 932950 w 1880293"/>
              <a:gd name="connsiteY212" fmla="*/ 52366 h 1885950"/>
              <a:gd name="connsiteX213" fmla="*/ 944861 w 1880293"/>
              <a:gd name="connsiteY213" fmla="*/ 42845 h 1885950"/>
              <a:gd name="connsiteX214" fmla="*/ 958360 w 1880293"/>
              <a:gd name="connsiteY214" fmla="*/ 33324 h 1885950"/>
              <a:gd name="connsiteX215" fmla="*/ 971066 w 1880293"/>
              <a:gd name="connsiteY215" fmla="*/ 25389 h 1885950"/>
              <a:gd name="connsiteX216" fmla="*/ 986153 w 1880293"/>
              <a:gd name="connsiteY216" fmla="*/ 16662 h 1885950"/>
              <a:gd name="connsiteX217" fmla="*/ 1002829 w 1880293"/>
              <a:gd name="connsiteY217" fmla="*/ 11108 h 1885950"/>
              <a:gd name="connsiteX218" fmla="*/ 1019505 w 1880293"/>
              <a:gd name="connsiteY218" fmla="*/ 6347 h 1885950"/>
              <a:gd name="connsiteX219" fmla="*/ 1036181 w 1880293"/>
              <a:gd name="connsiteY219" fmla="*/ 2380 h 1885950"/>
              <a:gd name="connsiteX220" fmla="*/ 1055239 w 1880293"/>
              <a:gd name="connsiteY220" fmla="*/ 0 h 1885950"/>
              <a:gd name="connsiteX221" fmla="*/ 1073503 w 1880293"/>
              <a:gd name="connsiteY221" fmla="*/ 0 h 1885950"/>
              <a:gd name="connsiteX222" fmla="*/ 1091767 w 1880293"/>
              <a:gd name="connsiteY222" fmla="*/ 0 h 1885950"/>
              <a:gd name="connsiteX223" fmla="*/ 1110031 w 1880293"/>
              <a:gd name="connsiteY223" fmla="*/ 2380 h 1885950"/>
              <a:gd name="connsiteX224" fmla="*/ 1127500 w 1880293"/>
              <a:gd name="connsiteY224" fmla="*/ 6347 h 1885950"/>
              <a:gd name="connsiteX225" fmla="*/ 1144176 w 1880293"/>
              <a:gd name="connsiteY225" fmla="*/ 11108 h 1885950"/>
              <a:gd name="connsiteX226" fmla="*/ 1160058 w 1880293"/>
              <a:gd name="connsiteY226" fmla="*/ 16662 h 1885950"/>
              <a:gd name="connsiteX227" fmla="*/ 1175146 w 1880293"/>
              <a:gd name="connsiteY227" fmla="*/ 25389 h 1885950"/>
              <a:gd name="connsiteX228" fmla="*/ 1189439 w 1880293"/>
              <a:gd name="connsiteY228" fmla="*/ 33324 h 1885950"/>
              <a:gd name="connsiteX229" fmla="*/ 1202144 w 1880293"/>
              <a:gd name="connsiteY229" fmla="*/ 42845 h 1885950"/>
              <a:gd name="connsiteX230" fmla="*/ 1214056 w 1880293"/>
              <a:gd name="connsiteY230" fmla="*/ 52366 h 1885950"/>
              <a:gd name="connsiteX231" fmla="*/ 1225173 w 1880293"/>
              <a:gd name="connsiteY231" fmla="*/ 64267 h 1885950"/>
              <a:gd name="connsiteX232" fmla="*/ 1233114 w 1880293"/>
              <a:gd name="connsiteY232" fmla="*/ 76168 h 1885950"/>
              <a:gd name="connsiteX233" fmla="*/ 1241849 w 1880293"/>
              <a:gd name="connsiteY233" fmla="*/ 88863 h 1885950"/>
              <a:gd name="connsiteX234" fmla="*/ 1247407 w 1880293"/>
              <a:gd name="connsiteY234" fmla="*/ 102351 h 1885950"/>
              <a:gd name="connsiteX235" fmla="*/ 1252172 w 1880293"/>
              <a:gd name="connsiteY235" fmla="*/ 116632 h 1885950"/>
              <a:gd name="connsiteX236" fmla="*/ 1254554 w 1880293"/>
              <a:gd name="connsiteY236" fmla="*/ 130914 h 1885950"/>
              <a:gd name="connsiteX237" fmla="*/ 1256142 w 1880293"/>
              <a:gd name="connsiteY237" fmla="*/ 145989 h 1885950"/>
              <a:gd name="connsiteX238" fmla="*/ 1254554 w 1880293"/>
              <a:gd name="connsiteY238" fmla="*/ 159477 h 1885950"/>
              <a:gd name="connsiteX239" fmla="*/ 1254482 w 1880293"/>
              <a:gd name="connsiteY239" fmla="*/ 159839 h 1885950"/>
              <a:gd name="connsiteX240" fmla="*/ 1251477 w 1880293"/>
              <a:gd name="connsiteY240" fmla="*/ 170344 h 1885950"/>
              <a:gd name="connsiteX241" fmla="*/ 1247507 w 1880293"/>
              <a:gd name="connsiteY241" fmla="*/ 180658 h 1885950"/>
              <a:gd name="connsiteX242" fmla="*/ 1242743 w 1880293"/>
              <a:gd name="connsiteY242" fmla="*/ 190179 h 1885950"/>
              <a:gd name="connsiteX243" fmla="*/ 1237184 w 1880293"/>
              <a:gd name="connsiteY243" fmla="*/ 198113 h 1885950"/>
              <a:gd name="connsiteX244" fmla="*/ 1232419 w 1880293"/>
              <a:gd name="connsiteY244" fmla="*/ 205254 h 1885950"/>
              <a:gd name="connsiteX245" fmla="*/ 1226067 w 1880293"/>
              <a:gd name="connsiteY245" fmla="*/ 212395 h 1885950"/>
              <a:gd name="connsiteX246" fmla="*/ 1214155 w 1880293"/>
              <a:gd name="connsiteY246" fmla="*/ 223503 h 1885950"/>
              <a:gd name="connsiteX247" fmla="*/ 1203832 w 1880293"/>
              <a:gd name="connsiteY247" fmla="*/ 230643 h 1885950"/>
              <a:gd name="connsiteX248" fmla="*/ 1194303 w 1880293"/>
              <a:gd name="connsiteY248" fmla="*/ 236197 h 1885950"/>
              <a:gd name="connsiteX249" fmla="*/ 1182392 w 1880293"/>
              <a:gd name="connsiteY249" fmla="*/ 243338 h 1885950"/>
              <a:gd name="connsiteX250" fmla="*/ 1172863 w 1880293"/>
              <a:gd name="connsiteY250" fmla="*/ 250479 h 1885950"/>
              <a:gd name="connsiteX251" fmla="*/ 1167304 w 1880293"/>
              <a:gd name="connsiteY251" fmla="*/ 259206 h 1885950"/>
              <a:gd name="connsiteX252" fmla="*/ 1162540 w 1880293"/>
              <a:gd name="connsiteY252" fmla="*/ 266347 h 1885950"/>
              <a:gd name="connsiteX253" fmla="*/ 1160952 w 1880293"/>
              <a:gd name="connsiteY253" fmla="*/ 274281 h 1885950"/>
              <a:gd name="connsiteX254" fmla="*/ 1161318 w 1880293"/>
              <a:gd name="connsiteY254" fmla="*/ 275926 h 1885950"/>
              <a:gd name="connsiteX255" fmla="*/ 1160058 w 1880293"/>
              <a:gd name="connsiteY255" fmla="*/ 279283 h 1885950"/>
              <a:gd name="connsiteX256" fmla="*/ 1160058 w 1880293"/>
              <a:gd name="connsiteY256" fmla="*/ 284043 h 1885950"/>
              <a:gd name="connsiteX257" fmla="*/ 1160058 w 1880293"/>
              <a:gd name="connsiteY257" fmla="*/ 289597 h 1885950"/>
              <a:gd name="connsiteX258" fmla="*/ 1160852 w 1880293"/>
              <a:gd name="connsiteY258" fmla="*/ 294358 h 1885950"/>
              <a:gd name="connsiteX259" fmla="*/ 1163234 w 1880293"/>
              <a:gd name="connsiteY259" fmla="*/ 299118 h 1885950"/>
              <a:gd name="connsiteX260" fmla="*/ 1167205 w 1880293"/>
              <a:gd name="connsiteY260" fmla="*/ 303085 h 1885950"/>
              <a:gd name="connsiteX261" fmla="*/ 1171969 w 1880293"/>
              <a:gd name="connsiteY261" fmla="*/ 306259 h 1885950"/>
              <a:gd name="connsiteX262" fmla="*/ 1176734 w 1880293"/>
              <a:gd name="connsiteY262" fmla="*/ 308639 h 1885950"/>
              <a:gd name="connsiteX263" fmla="*/ 1183880 w 1880293"/>
              <a:gd name="connsiteY263" fmla="*/ 311019 h 1885950"/>
              <a:gd name="connsiteX264" fmla="*/ 1191821 w 1880293"/>
              <a:gd name="connsiteY264" fmla="*/ 311813 h 1885950"/>
              <a:gd name="connsiteX265" fmla="*/ 1201350 w 1880293"/>
              <a:gd name="connsiteY265" fmla="*/ 313400 h 1885950"/>
              <a:gd name="connsiteX266" fmla="*/ 1880293 w 1880293"/>
              <a:gd name="connsiteY266" fmla="*/ 313400 h 188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Lst>
            <a:rect l="l" t="t" r="r" b="b"/>
            <a:pathLst>
              <a:path w="1880293" h="1885950">
                <a:moveTo>
                  <a:pt x="1880293" y="313400"/>
                </a:moveTo>
                <a:lnTo>
                  <a:pt x="1880293" y="1885950"/>
                </a:lnTo>
                <a:lnTo>
                  <a:pt x="1169587" y="1885950"/>
                </a:lnTo>
                <a:lnTo>
                  <a:pt x="1163234" y="1880396"/>
                </a:lnTo>
                <a:lnTo>
                  <a:pt x="1160891" y="1875713"/>
                </a:lnTo>
                <a:lnTo>
                  <a:pt x="1160891" y="1871451"/>
                </a:lnTo>
                <a:lnTo>
                  <a:pt x="1162479" y="1866687"/>
                </a:lnTo>
                <a:lnTo>
                  <a:pt x="1164862" y="1861128"/>
                </a:lnTo>
                <a:lnTo>
                  <a:pt x="1168038" y="1856364"/>
                </a:lnTo>
                <a:lnTo>
                  <a:pt x="1172803" y="1850011"/>
                </a:lnTo>
                <a:lnTo>
                  <a:pt x="1179156" y="1845247"/>
                </a:lnTo>
                <a:lnTo>
                  <a:pt x="1186304" y="1840482"/>
                </a:lnTo>
                <a:lnTo>
                  <a:pt x="1194245" y="1835718"/>
                </a:lnTo>
                <a:lnTo>
                  <a:pt x="1203775" y="1830159"/>
                </a:lnTo>
                <a:lnTo>
                  <a:pt x="1214099" y="1823012"/>
                </a:lnTo>
                <a:lnTo>
                  <a:pt x="1226011" y="1811101"/>
                </a:lnTo>
                <a:lnTo>
                  <a:pt x="1232364" y="1804748"/>
                </a:lnTo>
                <a:lnTo>
                  <a:pt x="1237129" y="1796807"/>
                </a:lnTo>
                <a:lnTo>
                  <a:pt x="1242688" y="1788073"/>
                </a:lnTo>
                <a:lnTo>
                  <a:pt x="1247453" y="1779338"/>
                </a:lnTo>
                <a:lnTo>
                  <a:pt x="1251424" y="1769809"/>
                </a:lnTo>
                <a:lnTo>
                  <a:pt x="1254601" y="1758691"/>
                </a:lnTo>
                <a:lnTo>
                  <a:pt x="1256983" y="1745986"/>
                </a:lnTo>
                <a:lnTo>
                  <a:pt x="1256983" y="1732487"/>
                </a:lnTo>
                <a:lnTo>
                  <a:pt x="1256983" y="1718193"/>
                </a:lnTo>
                <a:lnTo>
                  <a:pt x="1253807" y="1703900"/>
                </a:lnTo>
                <a:lnTo>
                  <a:pt x="1249836" y="1689606"/>
                </a:lnTo>
                <a:lnTo>
                  <a:pt x="1248605" y="1687144"/>
                </a:lnTo>
                <a:lnTo>
                  <a:pt x="1247407" y="1682836"/>
                </a:lnTo>
                <a:lnTo>
                  <a:pt x="1240261" y="1670141"/>
                </a:lnTo>
                <a:lnTo>
                  <a:pt x="1233114" y="1657446"/>
                </a:lnTo>
                <a:lnTo>
                  <a:pt x="1223585" y="1645545"/>
                </a:lnTo>
                <a:lnTo>
                  <a:pt x="1213262" y="1634437"/>
                </a:lnTo>
                <a:lnTo>
                  <a:pt x="1201350" y="1624123"/>
                </a:lnTo>
                <a:lnTo>
                  <a:pt x="1189439" y="1614602"/>
                </a:lnTo>
                <a:lnTo>
                  <a:pt x="1175146" y="1605874"/>
                </a:lnTo>
                <a:lnTo>
                  <a:pt x="1160058" y="1598734"/>
                </a:lnTo>
                <a:lnTo>
                  <a:pt x="1144176" y="1591593"/>
                </a:lnTo>
                <a:lnTo>
                  <a:pt x="1127500" y="1586832"/>
                </a:lnTo>
                <a:lnTo>
                  <a:pt x="1110031" y="1583659"/>
                </a:lnTo>
                <a:lnTo>
                  <a:pt x="1091767" y="1581278"/>
                </a:lnTo>
                <a:lnTo>
                  <a:pt x="1073503" y="1581278"/>
                </a:lnTo>
                <a:lnTo>
                  <a:pt x="1054445" y="1581278"/>
                </a:lnTo>
                <a:lnTo>
                  <a:pt x="1036181" y="1583659"/>
                </a:lnTo>
                <a:lnTo>
                  <a:pt x="1018711" y="1586832"/>
                </a:lnTo>
                <a:lnTo>
                  <a:pt x="1002035" y="1591593"/>
                </a:lnTo>
                <a:lnTo>
                  <a:pt x="986153" y="1598734"/>
                </a:lnTo>
                <a:lnTo>
                  <a:pt x="971066" y="1605874"/>
                </a:lnTo>
                <a:lnTo>
                  <a:pt x="956772" y="1614602"/>
                </a:lnTo>
                <a:lnTo>
                  <a:pt x="944067" y="1624123"/>
                </a:lnTo>
                <a:lnTo>
                  <a:pt x="932950" y="1634437"/>
                </a:lnTo>
                <a:lnTo>
                  <a:pt x="922627" y="1645545"/>
                </a:lnTo>
                <a:lnTo>
                  <a:pt x="913098" y="1657446"/>
                </a:lnTo>
                <a:lnTo>
                  <a:pt x="905951" y="1670141"/>
                </a:lnTo>
                <a:lnTo>
                  <a:pt x="898804" y="1682836"/>
                </a:lnTo>
                <a:lnTo>
                  <a:pt x="894834" y="1697117"/>
                </a:lnTo>
                <a:lnTo>
                  <a:pt x="891657" y="1711399"/>
                </a:lnTo>
                <a:lnTo>
                  <a:pt x="891657" y="1727267"/>
                </a:lnTo>
                <a:lnTo>
                  <a:pt x="891657" y="1739962"/>
                </a:lnTo>
                <a:lnTo>
                  <a:pt x="894040" y="1751863"/>
                </a:lnTo>
                <a:lnTo>
                  <a:pt x="896422" y="1762971"/>
                </a:lnTo>
                <a:lnTo>
                  <a:pt x="898164" y="1766741"/>
                </a:lnTo>
                <a:lnTo>
                  <a:pt x="898821" y="1769809"/>
                </a:lnTo>
                <a:lnTo>
                  <a:pt x="903586" y="1779338"/>
                </a:lnTo>
                <a:lnTo>
                  <a:pt x="908350" y="1788073"/>
                </a:lnTo>
                <a:lnTo>
                  <a:pt x="913910" y="1796807"/>
                </a:lnTo>
                <a:lnTo>
                  <a:pt x="918674" y="1804748"/>
                </a:lnTo>
                <a:lnTo>
                  <a:pt x="925028" y="1811101"/>
                </a:lnTo>
                <a:lnTo>
                  <a:pt x="936940" y="1823012"/>
                </a:lnTo>
                <a:lnTo>
                  <a:pt x="947264" y="1830159"/>
                </a:lnTo>
                <a:lnTo>
                  <a:pt x="956794" y="1835718"/>
                </a:lnTo>
                <a:lnTo>
                  <a:pt x="965529" y="1840482"/>
                </a:lnTo>
                <a:lnTo>
                  <a:pt x="971883" y="1845247"/>
                </a:lnTo>
                <a:lnTo>
                  <a:pt x="978236" y="1850011"/>
                </a:lnTo>
                <a:lnTo>
                  <a:pt x="983001" y="1856364"/>
                </a:lnTo>
                <a:lnTo>
                  <a:pt x="985866" y="1860661"/>
                </a:lnTo>
                <a:lnTo>
                  <a:pt x="987742" y="1866908"/>
                </a:lnTo>
                <a:lnTo>
                  <a:pt x="986153" y="1874049"/>
                </a:lnTo>
                <a:lnTo>
                  <a:pt x="982977" y="1880396"/>
                </a:lnTo>
                <a:lnTo>
                  <a:pt x="976624" y="1885950"/>
                </a:lnTo>
                <a:lnTo>
                  <a:pt x="311181" y="1885950"/>
                </a:lnTo>
                <a:lnTo>
                  <a:pt x="311181" y="1881384"/>
                </a:lnTo>
                <a:lnTo>
                  <a:pt x="314325" y="1881384"/>
                </a:lnTo>
                <a:lnTo>
                  <a:pt x="314325" y="1245819"/>
                </a:lnTo>
                <a:lnTo>
                  <a:pt x="313531" y="1236298"/>
                </a:lnTo>
                <a:lnTo>
                  <a:pt x="311944" y="1227569"/>
                </a:lnTo>
                <a:lnTo>
                  <a:pt x="309562" y="1220428"/>
                </a:lnTo>
                <a:lnTo>
                  <a:pt x="307181" y="1215668"/>
                </a:lnTo>
                <a:lnTo>
                  <a:pt x="304006" y="1210907"/>
                </a:lnTo>
                <a:lnTo>
                  <a:pt x="300037" y="1207733"/>
                </a:lnTo>
                <a:lnTo>
                  <a:pt x="295275" y="1205352"/>
                </a:lnTo>
                <a:lnTo>
                  <a:pt x="290512" y="1203766"/>
                </a:lnTo>
                <a:lnTo>
                  <a:pt x="284956" y="1203766"/>
                </a:lnTo>
                <a:lnTo>
                  <a:pt x="280194" y="1205352"/>
                </a:lnTo>
                <a:lnTo>
                  <a:pt x="274637" y="1206146"/>
                </a:lnTo>
                <a:lnTo>
                  <a:pt x="269875" y="1210113"/>
                </a:lnTo>
                <a:lnTo>
                  <a:pt x="263525" y="1214874"/>
                </a:lnTo>
                <a:lnTo>
                  <a:pt x="258762" y="1220428"/>
                </a:lnTo>
                <a:lnTo>
                  <a:pt x="255879" y="1224751"/>
                </a:lnTo>
                <a:lnTo>
                  <a:pt x="255595" y="1225035"/>
                </a:lnTo>
                <a:lnTo>
                  <a:pt x="250831" y="1232175"/>
                </a:lnTo>
                <a:lnTo>
                  <a:pt x="247958" y="1238490"/>
                </a:lnTo>
                <a:lnTo>
                  <a:pt x="243681" y="1245819"/>
                </a:lnTo>
                <a:lnTo>
                  <a:pt x="236855" y="1255675"/>
                </a:lnTo>
                <a:lnTo>
                  <a:pt x="235775" y="1256951"/>
                </a:lnTo>
                <a:lnTo>
                  <a:pt x="225425" y="1268036"/>
                </a:lnTo>
                <a:lnTo>
                  <a:pt x="218281" y="1274384"/>
                </a:lnTo>
                <a:lnTo>
                  <a:pt x="211137" y="1279938"/>
                </a:lnTo>
                <a:lnTo>
                  <a:pt x="203200" y="1284699"/>
                </a:lnTo>
                <a:lnTo>
                  <a:pt x="193675" y="1289460"/>
                </a:lnTo>
                <a:lnTo>
                  <a:pt x="182562" y="1294220"/>
                </a:lnTo>
                <a:lnTo>
                  <a:pt x="172244" y="1296601"/>
                </a:lnTo>
                <a:lnTo>
                  <a:pt x="160337" y="1298981"/>
                </a:lnTo>
                <a:lnTo>
                  <a:pt x="147637" y="1300568"/>
                </a:lnTo>
                <a:lnTo>
                  <a:pt x="131762" y="1298981"/>
                </a:lnTo>
                <a:lnTo>
                  <a:pt x="117475" y="1296601"/>
                </a:lnTo>
                <a:lnTo>
                  <a:pt x="103187" y="1291840"/>
                </a:lnTo>
                <a:lnTo>
                  <a:pt x="90487" y="1286286"/>
                </a:lnTo>
                <a:lnTo>
                  <a:pt x="76994" y="1277558"/>
                </a:lnTo>
                <a:lnTo>
                  <a:pt x="65087" y="1269623"/>
                </a:lnTo>
                <a:lnTo>
                  <a:pt x="53181" y="1258515"/>
                </a:lnTo>
                <a:lnTo>
                  <a:pt x="44450" y="1246613"/>
                </a:lnTo>
                <a:lnTo>
                  <a:pt x="34925" y="1233917"/>
                </a:lnTo>
                <a:lnTo>
                  <a:pt x="26194" y="1219635"/>
                </a:lnTo>
                <a:lnTo>
                  <a:pt x="18256" y="1203766"/>
                </a:lnTo>
                <a:lnTo>
                  <a:pt x="11906" y="1188690"/>
                </a:lnTo>
                <a:lnTo>
                  <a:pt x="7144" y="1172027"/>
                </a:lnTo>
                <a:lnTo>
                  <a:pt x="3969" y="1154571"/>
                </a:lnTo>
                <a:lnTo>
                  <a:pt x="1587" y="1136321"/>
                </a:lnTo>
                <a:lnTo>
                  <a:pt x="0" y="1117278"/>
                </a:lnTo>
                <a:lnTo>
                  <a:pt x="1587" y="1099822"/>
                </a:lnTo>
                <a:lnTo>
                  <a:pt x="3969" y="1080779"/>
                </a:lnTo>
                <a:lnTo>
                  <a:pt x="7144" y="1064116"/>
                </a:lnTo>
                <a:lnTo>
                  <a:pt x="11906" y="1047453"/>
                </a:lnTo>
                <a:lnTo>
                  <a:pt x="18256" y="1030790"/>
                </a:lnTo>
                <a:lnTo>
                  <a:pt x="26194" y="1015715"/>
                </a:lnTo>
                <a:lnTo>
                  <a:pt x="34925" y="1002226"/>
                </a:lnTo>
                <a:lnTo>
                  <a:pt x="44450" y="989530"/>
                </a:lnTo>
                <a:lnTo>
                  <a:pt x="44692" y="989200"/>
                </a:lnTo>
                <a:lnTo>
                  <a:pt x="50721" y="982249"/>
                </a:lnTo>
                <a:lnTo>
                  <a:pt x="61839" y="971935"/>
                </a:lnTo>
                <a:lnTo>
                  <a:pt x="73750" y="962414"/>
                </a:lnTo>
                <a:lnTo>
                  <a:pt x="86455" y="955273"/>
                </a:lnTo>
                <a:lnTo>
                  <a:pt x="99955" y="948926"/>
                </a:lnTo>
                <a:lnTo>
                  <a:pt x="114248" y="944165"/>
                </a:lnTo>
                <a:lnTo>
                  <a:pt x="128542" y="940992"/>
                </a:lnTo>
                <a:lnTo>
                  <a:pt x="143629" y="940992"/>
                </a:lnTo>
                <a:lnTo>
                  <a:pt x="156335" y="940992"/>
                </a:lnTo>
                <a:lnTo>
                  <a:pt x="168246" y="943372"/>
                </a:lnTo>
                <a:lnTo>
                  <a:pt x="180157" y="946546"/>
                </a:lnTo>
                <a:lnTo>
                  <a:pt x="189686" y="950513"/>
                </a:lnTo>
                <a:lnTo>
                  <a:pt x="199215" y="955273"/>
                </a:lnTo>
                <a:lnTo>
                  <a:pt x="207950" y="960827"/>
                </a:lnTo>
                <a:lnTo>
                  <a:pt x="215097" y="965588"/>
                </a:lnTo>
                <a:lnTo>
                  <a:pt x="222244" y="971935"/>
                </a:lnTo>
                <a:lnTo>
                  <a:pt x="232567" y="983043"/>
                </a:lnTo>
                <a:lnTo>
                  <a:pt x="241302" y="994151"/>
                </a:lnTo>
                <a:lnTo>
                  <a:pt x="246860" y="1003672"/>
                </a:lnTo>
                <a:lnTo>
                  <a:pt x="250831" y="1011606"/>
                </a:lnTo>
                <a:lnTo>
                  <a:pt x="255595" y="1018746"/>
                </a:lnTo>
                <a:lnTo>
                  <a:pt x="260360" y="1025094"/>
                </a:lnTo>
                <a:lnTo>
                  <a:pt x="265918" y="1029854"/>
                </a:lnTo>
                <a:lnTo>
                  <a:pt x="270683" y="1033028"/>
                </a:lnTo>
                <a:lnTo>
                  <a:pt x="276242" y="1035408"/>
                </a:lnTo>
                <a:lnTo>
                  <a:pt x="281006" y="1036995"/>
                </a:lnTo>
                <a:lnTo>
                  <a:pt x="287359" y="1036995"/>
                </a:lnTo>
                <a:lnTo>
                  <a:pt x="292123" y="1035408"/>
                </a:lnTo>
                <a:lnTo>
                  <a:pt x="295300" y="1033028"/>
                </a:lnTo>
                <a:lnTo>
                  <a:pt x="300064" y="1029854"/>
                </a:lnTo>
                <a:lnTo>
                  <a:pt x="303738" y="1025451"/>
                </a:lnTo>
                <a:lnTo>
                  <a:pt x="304006" y="1025236"/>
                </a:lnTo>
                <a:lnTo>
                  <a:pt x="307181" y="1020475"/>
                </a:lnTo>
                <a:lnTo>
                  <a:pt x="309562" y="1014128"/>
                </a:lnTo>
                <a:lnTo>
                  <a:pt x="311944" y="1006987"/>
                </a:lnTo>
                <a:lnTo>
                  <a:pt x="313531" y="999052"/>
                </a:lnTo>
                <a:lnTo>
                  <a:pt x="314325" y="990324"/>
                </a:lnTo>
                <a:lnTo>
                  <a:pt x="314325" y="313400"/>
                </a:lnTo>
                <a:lnTo>
                  <a:pt x="946449" y="313400"/>
                </a:lnTo>
                <a:lnTo>
                  <a:pt x="954390" y="311813"/>
                </a:lnTo>
                <a:lnTo>
                  <a:pt x="963125" y="311019"/>
                </a:lnTo>
                <a:lnTo>
                  <a:pt x="969478" y="308639"/>
                </a:lnTo>
                <a:lnTo>
                  <a:pt x="975830" y="306259"/>
                </a:lnTo>
                <a:lnTo>
                  <a:pt x="980595" y="303085"/>
                </a:lnTo>
                <a:lnTo>
                  <a:pt x="983771" y="299118"/>
                </a:lnTo>
                <a:lnTo>
                  <a:pt x="986153" y="294358"/>
                </a:lnTo>
                <a:lnTo>
                  <a:pt x="987742" y="289597"/>
                </a:lnTo>
                <a:lnTo>
                  <a:pt x="987742" y="284043"/>
                </a:lnTo>
                <a:lnTo>
                  <a:pt x="987575" y="283541"/>
                </a:lnTo>
                <a:lnTo>
                  <a:pt x="988635" y="281422"/>
                </a:lnTo>
                <a:lnTo>
                  <a:pt x="990224" y="274281"/>
                </a:lnTo>
                <a:lnTo>
                  <a:pt x="987841" y="266347"/>
                </a:lnTo>
                <a:lnTo>
                  <a:pt x="983871" y="259206"/>
                </a:lnTo>
                <a:lnTo>
                  <a:pt x="978312" y="250479"/>
                </a:lnTo>
                <a:lnTo>
                  <a:pt x="968783" y="243338"/>
                </a:lnTo>
                <a:lnTo>
                  <a:pt x="956872" y="236197"/>
                </a:lnTo>
                <a:lnTo>
                  <a:pt x="947343" y="230643"/>
                </a:lnTo>
                <a:lnTo>
                  <a:pt x="937020" y="223503"/>
                </a:lnTo>
                <a:lnTo>
                  <a:pt x="925109" y="212395"/>
                </a:lnTo>
                <a:lnTo>
                  <a:pt x="918756" y="205254"/>
                </a:lnTo>
                <a:lnTo>
                  <a:pt x="913991" y="198113"/>
                </a:lnTo>
                <a:lnTo>
                  <a:pt x="908433" y="190179"/>
                </a:lnTo>
                <a:lnTo>
                  <a:pt x="903668" y="180658"/>
                </a:lnTo>
                <a:lnTo>
                  <a:pt x="898904" y="170344"/>
                </a:lnTo>
                <a:lnTo>
                  <a:pt x="896522" y="159236"/>
                </a:lnTo>
                <a:lnTo>
                  <a:pt x="894139" y="147335"/>
                </a:lnTo>
                <a:lnTo>
                  <a:pt x="894139" y="134640"/>
                </a:lnTo>
                <a:lnTo>
                  <a:pt x="894139" y="120797"/>
                </a:lnTo>
                <a:lnTo>
                  <a:pt x="894834" y="116632"/>
                </a:lnTo>
                <a:lnTo>
                  <a:pt x="899598" y="102351"/>
                </a:lnTo>
                <a:lnTo>
                  <a:pt x="905951" y="88863"/>
                </a:lnTo>
                <a:lnTo>
                  <a:pt x="913098" y="76168"/>
                </a:lnTo>
                <a:lnTo>
                  <a:pt x="922627" y="64267"/>
                </a:lnTo>
                <a:lnTo>
                  <a:pt x="932950" y="52366"/>
                </a:lnTo>
                <a:lnTo>
                  <a:pt x="944861" y="42845"/>
                </a:lnTo>
                <a:lnTo>
                  <a:pt x="958360" y="33324"/>
                </a:lnTo>
                <a:lnTo>
                  <a:pt x="971066" y="25389"/>
                </a:lnTo>
                <a:lnTo>
                  <a:pt x="986153" y="16662"/>
                </a:lnTo>
                <a:lnTo>
                  <a:pt x="1002829" y="11108"/>
                </a:lnTo>
                <a:lnTo>
                  <a:pt x="1019505" y="6347"/>
                </a:lnTo>
                <a:lnTo>
                  <a:pt x="1036181" y="2380"/>
                </a:lnTo>
                <a:lnTo>
                  <a:pt x="1055239" y="0"/>
                </a:lnTo>
                <a:lnTo>
                  <a:pt x="1073503" y="0"/>
                </a:lnTo>
                <a:lnTo>
                  <a:pt x="1091767" y="0"/>
                </a:lnTo>
                <a:lnTo>
                  <a:pt x="1110031" y="2380"/>
                </a:lnTo>
                <a:lnTo>
                  <a:pt x="1127500" y="6347"/>
                </a:lnTo>
                <a:lnTo>
                  <a:pt x="1144176" y="11108"/>
                </a:lnTo>
                <a:lnTo>
                  <a:pt x="1160058" y="16662"/>
                </a:lnTo>
                <a:lnTo>
                  <a:pt x="1175146" y="25389"/>
                </a:lnTo>
                <a:lnTo>
                  <a:pt x="1189439" y="33324"/>
                </a:lnTo>
                <a:lnTo>
                  <a:pt x="1202144" y="42845"/>
                </a:lnTo>
                <a:lnTo>
                  <a:pt x="1214056" y="52366"/>
                </a:lnTo>
                <a:lnTo>
                  <a:pt x="1225173" y="64267"/>
                </a:lnTo>
                <a:lnTo>
                  <a:pt x="1233114" y="76168"/>
                </a:lnTo>
                <a:lnTo>
                  <a:pt x="1241849" y="88863"/>
                </a:lnTo>
                <a:lnTo>
                  <a:pt x="1247407" y="102351"/>
                </a:lnTo>
                <a:lnTo>
                  <a:pt x="1252172" y="116632"/>
                </a:lnTo>
                <a:lnTo>
                  <a:pt x="1254554" y="130914"/>
                </a:lnTo>
                <a:lnTo>
                  <a:pt x="1256142" y="145989"/>
                </a:lnTo>
                <a:lnTo>
                  <a:pt x="1254554" y="159477"/>
                </a:lnTo>
                <a:lnTo>
                  <a:pt x="1254482" y="159839"/>
                </a:lnTo>
                <a:lnTo>
                  <a:pt x="1251477" y="170344"/>
                </a:lnTo>
                <a:lnTo>
                  <a:pt x="1247507" y="180658"/>
                </a:lnTo>
                <a:lnTo>
                  <a:pt x="1242743" y="190179"/>
                </a:lnTo>
                <a:lnTo>
                  <a:pt x="1237184" y="198113"/>
                </a:lnTo>
                <a:lnTo>
                  <a:pt x="1232419" y="205254"/>
                </a:lnTo>
                <a:lnTo>
                  <a:pt x="1226067" y="212395"/>
                </a:lnTo>
                <a:lnTo>
                  <a:pt x="1214155" y="223503"/>
                </a:lnTo>
                <a:lnTo>
                  <a:pt x="1203832" y="230643"/>
                </a:lnTo>
                <a:lnTo>
                  <a:pt x="1194303" y="236197"/>
                </a:lnTo>
                <a:lnTo>
                  <a:pt x="1182392" y="243338"/>
                </a:lnTo>
                <a:lnTo>
                  <a:pt x="1172863" y="250479"/>
                </a:lnTo>
                <a:lnTo>
                  <a:pt x="1167304" y="259206"/>
                </a:lnTo>
                <a:lnTo>
                  <a:pt x="1162540" y="266347"/>
                </a:lnTo>
                <a:lnTo>
                  <a:pt x="1160952" y="274281"/>
                </a:lnTo>
                <a:lnTo>
                  <a:pt x="1161318" y="275926"/>
                </a:lnTo>
                <a:lnTo>
                  <a:pt x="1160058" y="279283"/>
                </a:lnTo>
                <a:lnTo>
                  <a:pt x="1160058" y="284043"/>
                </a:lnTo>
                <a:lnTo>
                  <a:pt x="1160058" y="289597"/>
                </a:lnTo>
                <a:lnTo>
                  <a:pt x="1160852" y="294358"/>
                </a:lnTo>
                <a:lnTo>
                  <a:pt x="1163234" y="299118"/>
                </a:lnTo>
                <a:lnTo>
                  <a:pt x="1167205" y="303085"/>
                </a:lnTo>
                <a:lnTo>
                  <a:pt x="1171969" y="306259"/>
                </a:lnTo>
                <a:lnTo>
                  <a:pt x="1176734" y="308639"/>
                </a:lnTo>
                <a:lnTo>
                  <a:pt x="1183880" y="311019"/>
                </a:lnTo>
                <a:lnTo>
                  <a:pt x="1191821" y="311813"/>
                </a:lnTo>
                <a:lnTo>
                  <a:pt x="1201350" y="313400"/>
                </a:lnTo>
                <a:lnTo>
                  <a:pt x="1880293" y="313400"/>
                </a:lnTo>
                <a:close/>
              </a:path>
            </a:pathLst>
          </a:custGeom>
          <a:ln>
            <a:solidFill>
              <a:schemeClr val="tx1">
                <a:lumMod val="50000"/>
                <a:lumOff val="50000"/>
              </a:schemeClr>
            </a:solidFill>
          </a:ln>
        </p:spPr>
      </p:pic>
      <p:pic>
        <p:nvPicPr>
          <p:cNvPr id="7" name="Picture 6">
            <a:extLst>
              <a:ext uri="{FF2B5EF4-FFF2-40B4-BE49-F238E27FC236}">
                <a16:creationId xmlns:a16="http://schemas.microsoft.com/office/drawing/2014/main" id="{CA5A78B3-F537-4155-9982-6BE2F1B52723}"/>
              </a:ext>
            </a:extLst>
          </p:cNvPr>
          <p:cNvPicPr>
            <a:picLocks noChangeAspect="1"/>
          </p:cNvPicPr>
          <p:nvPr/>
        </p:nvPicPr>
        <p:blipFill rotWithShape="1">
          <a:blip r:embed="rId2"/>
          <a:srcRect l="37966" t="20314" r="32947" b="45137"/>
          <a:stretch/>
        </p:blipFill>
        <p:spPr>
          <a:xfrm rot="16714941">
            <a:off x="8984778" y="4647190"/>
            <a:ext cx="1456941" cy="2711216"/>
          </a:xfrm>
          <a:custGeom>
            <a:avLst/>
            <a:gdLst>
              <a:gd name="connsiteX0" fmla="*/ 1568450 w 1568450"/>
              <a:gd name="connsiteY0" fmla="*/ 1883668 h 2200276"/>
              <a:gd name="connsiteX1" fmla="*/ 1568450 w 1568450"/>
              <a:gd name="connsiteY1" fmla="*/ 1884478 h 2200276"/>
              <a:gd name="connsiteX2" fmla="*/ 1134269 w 1568450"/>
              <a:gd name="connsiteY2" fmla="*/ 1884478 h 2200276"/>
              <a:gd name="connsiteX3" fmla="*/ 1134269 w 1568450"/>
              <a:gd name="connsiteY3" fmla="*/ 1885271 h 2200276"/>
              <a:gd name="connsiteX4" fmla="*/ 935037 w 1568450"/>
              <a:gd name="connsiteY4" fmla="*/ 1885271 h 2200276"/>
              <a:gd name="connsiteX5" fmla="*/ 925512 w 1568450"/>
              <a:gd name="connsiteY5" fmla="*/ 1886858 h 2200276"/>
              <a:gd name="connsiteX6" fmla="*/ 915987 w 1568450"/>
              <a:gd name="connsiteY6" fmla="*/ 1887651 h 2200276"/>
              <a:gd name="connsiteX7" fmla="*/ 908844 w 1568450"/>
              <a:gd name="connsiteY7" fmla="*/ 1890032 h 2200276"/>
              <a:gd name="connsiteX8" fmla="*/ 903287 w 1568450"/>
              <a:gd name="connsiteY8" fmla="*/ 1893999 h 2200276"/>
              <a:gd name="connsiteX9" fmla="*/ 896937 w 1568450"/>
              <a:gd name="connsiteY9" fmla="*/ 1899553 h 2200276"/>
              <a:gd name="connsiteX10" fmla="*/ 896793 w 1568450"/>
              <a:gd name="connsiteY10" fmla="*/ 1899877 h 2200276"/>
              <a:gd name="connsiteX11" fmla="*/ 893110 w 1568450"/>
              <a:gd name="connsiteY11" fmla="*/ 1899877 h 2200276"/>
              <a:gd name="connsiteX12" fmla="*/ 887412 w 1568450"/>
              <a:gd name="connsiteY12" fmla="*/ 1904860 h 2200276"/>
              <a:gd name="connsiteX13" fmla="*/ 884237 w 1568450"/>
              <a:gd name="connsiteY13" fmla="*/ 1912002 h 2200276"/>
              <a:gd name="connsiteX14" fmla="*/ 884237 w 1568450"/>
              <a:gd name="connsiteY14" fmla="*/ 1919143 h 2200276"/>
              <a:gd name="connsiteX15" fmla="*/ 885031 w 1568450"/>
              <a:gd name="connsiteY15" fmla="*/ 1926284 h 2200276"/>
              <a:gd name="connsiteX16" fmla="*/ 889000 w 1568450"/>
              <a:gd name="connsiteY16" fmla="*/ 1935012 h 2200276"/>
              <a:gd name="connsiteX17" fmla="*/ 896144 w 1568450"/>
              <a:gd name="connsiteY17" fmla="*/ 1942153 h 2200276"/>
              <a:gd name="connsiteX18" fmla="*/ 904081 w 1568450"/>
              <a:gd name="connsiteY18" fmla="*/ 1949294 h 2200276"/>
              <a:gd name="connsiteX19" fmla="*/ 915987 w 1568450"/>
              <a:gd name="connsiteY19" fmla="*/ 1956436 h 2200276"/>
              <a:gd name="connsiteX20" fmla="*/ 925512 w 1568450"/>
              <a:gd name="connsiteY20" fmla="*/ 1961990 h 2200276"/>
              <a:gd name="connsiteX21" fmla="*/ 936625 w 1568450"/>
              <a:gd name="connsiteY21" fmla="*/ 1969131 h 2200276"/>
              <a:gd name="connsiteX22" fmla="*/ 947737 w 1568450"/>
              <a:gd name="connsiteY22" fmla="*/ 1980239 h 2200276"/>
              <a:gd name="connsiteX23" fmla="*/ 954087 w 1568450"/>
              <a:gd name="connsiteY23" fmla="*/ 1987381 h 2200276"/>
              <a:gd name="connsiteX24" fmla="*/ 959644 w 1568450"/>
              <a:gd name="connsiteY24" fmla="*/ 1994522 h 2200276"/>
              <a:gd name="connsiteX25" fmla="*/ 964406 w 1568450"/>
              <a:gd name="connsiteY25" fmla="*/ 2003250 h 2200276"/>
              <a:gd name="connsiteX26" fmla="*/ 969169 w 1568450"/>
              <a:gd name="connsiteY26" fmla="*/ 2011978 h 2200276"/>
              <a:gd name="connsiteX27" fmla="*/ 973931 w 1568450"/>
              <a:gd name="connsiteY27" fmla="*/ 2022293 h 2200276"/>
              <a:gd name="connsiteX28" fmla="*/ 976312 w 1568450"/>
              <a:gd name="connsiteY28" fmla="*/ 2033402 h 2200276"/>
              <a:gd name="connsiteX29" fmla="*/ 978694 w 1568450"/>
              <a:gd name="connsiteY29" fmla="*/ 2045304 h 2200276"/>
              <a:gd name="connsiteX30" fmla="*/ 980281 w 1568450"/>
              <a:gd name="connsiteY30" fmla="*/ 2057999 h 2200276"/>
              <a:gd name="connsiteX31" fmla="*/ 978694 w 1568450"/>
              <a:gd name="connsiteY31" fmla="*/ 2073868 h 2200276"/>
              <a:gd name="connsiteX32" fmla="*/ 976312 w 1568450"/>
              <a:gd name="connsiteY32" fmla="*/ 2088151 h 2200276"/>
              <a:gd name="connsiteX33" fmla="*/ 971550 w 1568450"/>
              <a:gd name="connsiteY33" fmla="*/ 2102433 h 2200276"/>
              <a:gd name="connsiteX34" fmla="*/ 965994 w 1568450"/>
              <a:gd name="connsiteY34" fmla="*/ 2115128 h 2200276"/>
              <a:gd name="connsiteX35" fmla="*/ 957262 w 1568450"/>
              <a:gd name="connsiteY35" fmla="*/ 2127824 h 2200276"/>
              <a:gd name="connsiteX36" fmla="*/ 949325 w 1568450"/>
              <a:gd name="connsiteY36" fmla="*/ 2139726 h 2200276"/>
              <a:gd name="connsiteX37" fmla="*/ 939006 w 1568450"/>
              <a:gd name="connsiteY37" fmla="*/ 2151628 h 2200276"/>
              <a:gd name="connsiteX38" fmla="*/ 927100 w 1568450"/>
              <a:gd name="connsiteY38" fmla="*/ 2162736 h 2200276"/>
              <a:gd name="connsiteX39" fmla="*/ 913606 w 1568450"/>
              <a:gd name="connsiteY39" fmla="*/ 2170671 h 2200276"/>
              <a:gd name="connsiteX40" fmla="*/ 903451 w 1568450"/>
              <a:gd name="connsiteY40" fmla="*/ 2177438 h 2200276"/>
              <a:gd name="connsiteX41" fmla="*/ 893762 w 1568450"/>
              <a:gd name="connsiteY41" fmla="*/ 2182026 h 2200276"/>
              <a:gd name="connsiteX42" fmla="*/ 877887 w 1568450"/>
              <a:gd name="connsiteY42" fmla="*/ 2188374 h 2200276"/>
              <a:gd name="connsiteX43" fmla="*/ 861219 w 1568450"/>
              <a:gd name="connsiteY43" fmla="*/ 2193135 h 2200276"/>
              <a:gd name="connsiteX44" fmla="*/ 843756 w 1568450"/>
              <a:gd name="connsiteY44" fmla="*/ 2196309 h 2200276"/>
              <a:gd name="connsiteX45" fmla="*/ 826294 w 1568450"/>
              <a:gd name="connsiteY45" fmla="*/ 2198689 h 2200276"/>
              <a:gd name="connsiteX46" fmla="*/ 807244 w 1568450"/>
              <a:gd name="connsiteY46" fmla="*/ 2200276 h 2200276"/>
              <a:gd name="connsiteX47" fmla="*/ 788987 w 1568450"/>
              <a:gd name="connsiteY47" fmla="*/ 2198689 h 2200276"/>
              <a:gd name="connsiteX48" fmla="*/ 769937 w 1568450"/>
              <a:gd name="connsiteY48" fmla="*/ 2196309 h 2200276"/>
              <a:gd name="connsiteX49" fmla="*/ 753269 w 1568450"/>
              <a:gd name="connsiteY49" fmla="*/ 2193135 h 2200276"/>
              <a:gd name="connsiteX50" fmla="*/ 736600 w 1568450"/>
              <a:gd name="connsiteY50" fmla="*/ 2188374 h 2200276"/>
              <a:gd name="connsiteX51" fmla="*/ 720725 w 1568450"/>
              <a:gd name="connsiteY51" fmla="*/ 2182026 h 2200276"/>
              <a:gd name="connsiteX52" fmla="*/ 704850 w 1568450"/>
              <a:gd name="connsiteY52" fmla="*/ 2174885 h 2200276"/>
              <a:gd name="connsiteX53" fmla="*/ 692150 w 1568450"/>
              <a:gd name="connsiteY53" fmla="*/ 2165364 h 2200276"/>
              <a:gd name="connsiteX54" fmla="*/ 678656 w 1568450"/>
              <a:gd name="connsiteY54" fmla="*/ 2157429 h 2200276"/>
              <a:gd name="connsiteX55" fmla="*/ 666750 w 1568450"/>
              <a:gd name="connsiteY55" fmla="*/ 2146321 h 2200276"/>
              <a:gd name="connsiteX56" fmla="*/ 656431 w 1568450"/>
              <a:gd name="connsiteY56" fmla="*/ 2134419 h 2200276"/>
              <a:gd name="connsiteX57" fmla="*/ 646906 w 1568450"/>
              <a:gd name="connsiteY57" fmla="*/ 2122517 h 2200276"/>
              <a:gd name="connsiteX58" fmla="*/ 639762 w 1568450"/>
              <a:gd name="connsiteY58" fmla="*/ 2109821 h 2200276"/>
              <a:gd name="connsiteX59" fmla="*/ 633412 w 1568450"/>
              <a:gd name="connsiteY59" fmla="*/ 2097126 h 2200276"/>
              <a:gd name="connsiteX60" fmla="*/ 628650 w 1568450"/>
              <a:gd name="connsiteY60" fmla="*/ 2082844 h 2200276"/>
              <a:gd name="connsiteX61" fmla="*/ 626269 w 1568450"/>
              <a:gd name="connsiteY61" fmla="*/ 2068561 h 2200276"/>
              <a:gd name="connsiteX62" fmla="*/ 625475 w 1568450"/>
              <a:gd name="connsiteY62" fmla="*/ 2052692 h 2200276"/>
              <a:gd name="connsiteX63" fmla="*/ 625475 w 1568450"/>
              <a:gd name="connsiteY63" fmla="*/ 2039997 h 2200276"/>
              <a:gd name="connsiteX64" fmla="*/ 627856 w 1568450"/>
              <a:gd name="connsiteY64" fmla="*/ 2028095 h 2200276"/>
              <a:gd name="connsiteX65" fmla="*/ 631031 w 1568450"/>
              <a:gd name="connsiteY65" fmla="*/ 2016986 h 2200276"/>
              <a:gd name="connsiteX66" fmla="*/ 635000 w 1568450"/>
              <a:gd name="connsiteY66" fmla="*/ 2006671 h 2200276"/>
              <a:gd name="connsiteX67" fmla="*/ 639762 w 1568450"/>
              <a:gd name="connsiteY67" fmla="*/ 1997943 h 2200276"/>
              <a:gd name="connsiteX68" fmla="*/ 645319 w 1568450"/>
              <a:gd name="connsiteY68" fmla="*/ 1989215 h 2200276"/>
              <a:gd name="connsiteX69" fmla="*/ 651669 w 1568450"/>
              <a:gd name="connsiteY69" fmla="*/ 1982074 h 2200276"/>
              <a:gd name="connsiteX70" fmla="*/ 657225 w 1568450"/>
              <a:gd name="connsiteY70" fmla="*/ 1974932 h 2200276"/>
              <a:gd name="connsiteX71" fmla="*/ 669131 w 1568450"/>
              <a:gd name="connsiteY71" fmla="*/ 1963824 h 2200276"/>
              <a:gd name="connsiteX72" fmla="*/ 676469 w 1568450"/>
              <a:gd name="connsiteY72" fmla="*/ 1958322 h 2200276"/>
              <a:gd name="connsiteX73" fmla="*/ 680244 w 1568450"/>
              <a:gd name="connsiteY73" fmla="*/ 1956436 h 2200276"/>
              <a:gd name="connsiteX74" fmla="*/ 683085 w 1568450"/>
              <a:gd name="connsiteY74" fmla="*/ 1954469 h 2200276"/>
              <a:gd name="connsiteX75" fmla="*/ 689769 w 1568450"/>
              <a:gd name="connsiteY75" fmla="*/ 1951129 h 2200276"/>
              <a:gd name="connsiteX76" fmla="*/ 700087 w 1568450"/>
              <a:gd name="connsiteY76" fmla="*/ 1943987 h 2200276"/>
              <a:gd name="connsiteX77" fmla="*/ 709612 w 1568450"/>
              <a:gd name="connsiteY77" fmla="*/ 1936846 h 2200276"/>
              <a:gd name="connsiteX78" fmla="*/ 715962 w 1568450"/>
              <a:gd name="connsiteY78" fmla="*/ 1929705 h 2200276"/>
              <a:gd name="connsiteX79" fmla="*/ 720725 w 1568450"/>
              <a:gd name="connsiteY79" fmla="*/ 1920977 h 2200276"/>
              <a:gd name="connsiteX80" fmla="*/ 721519 w 1568450"/>
              <a:gd name="connsiteY80" fmla="*/ 1913836 h 2200276"/>
              <a:gd name="connsiteX81" fmla="*/ 720725 w 1568450"/>
              <a:gd name="connsiteY81" fmla="*/ 1906695 h 2200276"/>
              <a:gd name="connsiteX82" fmla="*/ 716756 w 1568450"/>
              <a:gd name="connsiteY82" fmla="*/ 1899553 h 2200276"/>
              <a:gd name="connsiteX83" fmla="*/ 711994 w 1568450"/>
              <a:gd name="connsiteY83" fmla="*/ 1893999 h 2200276"/>
              <a:gd name="connsiteX84" fmla="*/ 706437 w 1568450"/>
              <a:gd name="connsiteY84" fmla="*/ 1890032 h 2200276"/>
              <a:gd name="connsiteX85" fmla="*/ 697706 w 1568450"/>
              <a:gd name="connsiteY85" fmla="*/ 1887651 h 2200276"/>
              <a:gd name="connsiteX86" fmla="*/ 689769 w 1568450"/>
              <a:gd name="connsiteY86" fmla="*/ 1886858 h 2200276"/>
              <a:gd name="connsiteX87" fmla="*/ 680244 w 1568450"/>
              <a:gd name="connsiteY87" fmla="*/ 1885271 h 2200276"/>
              <a:gd name="connsiteX88" fmla="*/ 361156 w 1568450"/>
              <a:gd name="connsiteY88" fmla="*/ 1885271 h 2200276"/>
              <a:gd name="connsiteX89" fmla="*/ 361156 w 1568450"/>
              <a:gd name="connsiteY89" fmla="*/ 1884478 h 2200276"/>
              <a:gd name="connsiteX90" fmla="*/ 0 w 1568450"/>
              <a:gd name="connsiteY90" fmla="*/ 1884478 h 2200276"/>
              <a:gd name="connsiteX91" fmla="*/ 0 w 1568450"/>
              <a:gd name="connsiteY91" fmla="*/ 1206066 h 2200276"/>
              <a:gd name="connsiteX92" fmla="*/ 0 w 1568450"/>
              <a:gd name="connsiteY92" fmla="*/ 1196545 h 2200276"/>
              <a:gd name="connsiteX93" fmla="*/ 2381 w 1568450"/>
              <a:gd name="connsiteY93" fmla="*/ 1188610 h 2200276"/>
              <a:gd name="connsiteX94" fmla="*/ 3969 w 1568450"/>
              <a:gd name="connsiteY94" fmla="*/ 1181469 h 2200276"/>
              <a:gd name="connsiteX95" fmla="*/ 7144 w 1568450"/>
              <a:gd name="connsiteY95" fmla="*/ 1176708 h 2200276"/>
              <a:gd name="connsiteX96" fmla="*/ 11112 w 1568450"/>
              <a:gd name="connsiteY96" fmla="*/ 1171947 h 2200276"/>
              <a:gd name="connsiteX97" fmla="*/ 11505 w 1568450"/>
              <a:gd name="connsiteY97" fmla="*/ 1171456 h 2200276"/>
              <a:gd name="connsiteX98" fmla="*/ 15080 w 1568450"/>
              <a:gd name="connsiteY98" fmla="*/ 1170861 h 2200276"/>
              <a:gd name="connsiteX99" fmla="*/ 19843 w 1568450"/>
              <a:gd name="connsiteY99" fmla="*/ 1170861 h 2200276"/>
              <a:gd name="connsiteX100" fmla="*/ 26193 w 1568450"/>
              <a:gd name="connsiteY100" fmla="*/ 1171654 h 2200276"/>
              <a:gd name="connsiteX101" fmla="*/ 30955 w 1568450"/>
              <a:gd name="connsiteY101" fmla="*/ 1174033 h 2200276"/>
              <a:gd name="connsiteX102" fmla="*/ 36511 w 1568450"/>
              <a:gd name="connsiteY102" fmla="*/ 1177998 h 2200276"/>
              <a:gd name="connsiteX103" fmla="*/ 41274 w 1568450"/>
              <a:gd name="connsiteY103" fmla="*/ 1182757 h 2200276"/>
              <a:gd name="connsiteX104" fmla="*/ 46036 w 1568450"/>
              <a:gd name="connsiteY104" fmla="*/ 1188308 h 2200276"/>
              <a:gd name="connsiteX105" fmla="*/ 51593 w 1568450"/>
              <a:gd name="connsiteY105" fmla="*/ 1195446 h 2200276"/>
              <a:gd name="connsiteX106" fmla="*/ 55561 w 1568450"/>
              <a:gd name="connsiteY106" fmla="*/ 1204170 h 2200276"/>
              <a:gd name="connsiteX107" fmla="*/ 61118 w 1568450"/>
              <a:gd name="connsiteY107" fmla="*/ 1213687 h 2200276"/>
              <a:gd name="connsiteX108" fmla="*/ 69849 w 1568450"/>
              <a:gd name="connsiteY108" fmla="*/ 1223997 h 2200276"/>
              <a:gd name="connsiteX109" fmla="*/ 80168 w 1568450"/>
              <a:gd name="connsiteY109" fmla="*/ 1235893 h 2200276"/>
              <a:gd name="connsiteX110" fmla="*/ 86518 w 1568450"/>
              <a:gd name="connsiteY110" fmla="*/ 1241445 h 2200276"/>
              <a:gd name="connsiteX111" fmla="*/ 94455 w 1568450"/>
              <a:gd name="connsiteY111" fmla="*/ 1247790 h 2200276"/>
              <a:gd name="connsiteX112" fmla="*/ 103186 w 1568450"/>
              <a:gd name="connsiteY112" fmla="*/ 1252548 h 2200276"/>
              <a:gd name="connsiteX113" fmla="*/ 112711 w 1568450"/>
              <a:gd name="connsiteY113" fmla="*/ 1257307 h 2200276"/>
              <a:gd name="connsiteX114" fmla="*/ 122236 w 1568450"/>
              <a:gd name="connsiteY114" fmla="*/ 1262065 h 2200276"/>
              <a:gd name="connsiteX115" fmla="*/ 134143 w 1568450"/>
              <a:gd name="connsiteY115" fmla="*/ 1264444 h 2200276"/>
              <a:gd name="connsiteX116" fmla="*/ 146049 w 1568450"/>
              <a:gd name="connsiteY116" fmla="*/ 1266823 h 2200276"/>
              <a:gd name="connsiteX117" fmla="*/ 158749 w 1568450"/>
              <a:gd name="connsiteY117" fmla="*/ 1267617 h 2200276"/>
              <a:gd name="connsiteX118" fmla="*/ 173036 w 1568450"/>
              <a:gd name="connsiteY118" fmla="*/ 1266823 h 2200276"/>
              <a:gd name="connsiteX119" fmla="*/ 188118 w 1568450"/>
              <a:gd name="connsiteY119" fmla="*/ 1262858 h 2200276"/>
              <a:gd name="connsiteX120" fmla="*/ 201611 w 1568450"/>
              <a:gd name="connsiteY120" fmla="*/ 1259686 h 2200276"/>
              <a:gd name="connsiteX121" fmla="*/ 215899 w 1568450"/>
              <a:gd name="connsiteY121" fmla="*/ 1252548 h 2200276"/>
              <a:gd name="connsiteX122" fmla="*/ 227805 w 1568450"/>
              <a:gd name="connsiteY122" fmla="*/ 1245410 h 2200276"/>
              <a:gd name="connsiteX123" fmla="*/ 240505 w 1568450"/>
              <a:gd name="connsiteY123" fmla="*/ 1235893 h 2200276"/>
              <a:gd name="connsiteX124" fmla="*/ 251618 w 1568450"/>
              <a:gd name="connsiteY124" fmla="*/ 1226376 h 2200276"/>
              <a:gd name="connsiteX125" fmla="*/ 252067 w 1568450"/>
              <a:gd name="connsiteY125" fmla="*/ 1225858 h 2200276"/>
              <a:gd name="connsiteX126" fmla="*/ 260350 w 1568450"/>
              <a:gd name="connsiteY126" fmla="*/ 1218762 h 2200276"/>
              <a:gd name="connsiteX127" fmla="*/ 270669 w 1568450"/>
              <a:gd name="connsiteY127" fmla="*/ 1206860 h 2200276"/>
              <a:gd name="connsiteX128" fmla="*/ 280194 w 1568450"/>
              <a:gd name="connsiteY128" fmla="*/ 1194164 h 2200276"/>
              <a:gd name="connsiteX129" fmla="*/ 288131 w 1568450"/>
              <a:gd name="connsiteY129" fmla="*/ 1179882 h 2200276"/>
              <a:gd name="connsiteX130" fmla="*/ 295275 w 1568450"/>
              <a:gd name="connsiteY130" fmla="*/ 1164806 h 2200276"/>
              <a:gd name="connsiteX131" fmla="*/ 302419 w 1568450"/>
              <a:gd name="connsiteY131" fmla="*/ 1148937 h 2200276"/>
              <a:gd name="connsiteX132" fmla="*/ 307181 w 1568450"/>
              <a:gd name="connsiteY132" fmla="*/ 1132274 h 2200276"/>
              <a:gd name="connsiteX133" fmla="*/ 311150 w 1568450"/>
              <a:gd name="connsiteY133" fmla="*/ 1114818 h 2200276"/>
              <a:gd name="connsiteX134" fmla="*/ 313531 w 1568450"/>
              <a:gd name="connsiteY134" fmla="*/ 1096568 h 2200276"/>
              <a:gd name="connsiteX135" fmla="*/ 313531 w 1568450"/>
              <a:gd name="connsiteY135" fmla="*/ 1078318 h 2200276"/>
              <a:gd name="connsiteX136" fmla="*/ 313531 w 1568450"/>
              <a:gd name="connsiteY136" fmla="*/ 1060069 h 2200276"/>
              <a:gd name="connsiteX137" fmla="*/ 311150 w 1568450"/>
              <a:gd name="connsiteY137" fmla="*/ 1041026 h 2200276"/>
              <a:gd name="connsiteX138" fmla="*/ 307181 w 1568450"/>
              <a:gd name="connsiteY138" fmla="*/ 1024363 h 2200276"/>
              <a:gd name="connsiteX139" fmla="*/ 302419 w 1568450"/>
              <a:gd name="connsiteY139" fmla="*/ 1006907 h 2200276"/>
              <a:gd name="connsiteX140" fmla="*/ 295275 w 1568450"/>
              <a:gd name="connsiteY140" fmla="*/ 991037 h 2200276"/>
              <a:gd name="connsiteX141" fmla="*/ 288131 w 1568450"/>
              <a:gd name="connsiteY141" fmla="*/ 975962 h 2200276"/>
              <a:gd name="connsiteX142" fmla="*/ 280194 w 1568450"/>
              <a:gd name="connsiteY142" fmla="*/ 963266 h 2200276"/>
              <a:gd name="connsiteX143" fmla="*/ 270669 w 1568450"/>
              <a:gd name="connsiteY143" fmla="*/ 949777 h 2200276"/>
              <a:gd name="connsiteX144" fmla="*/ 260350 w 1568450"/>
              <a:gd name="connsiteY144" fmla="*/ 937875 h 2200276"/>
              <a:gd name="connsiteX145" fmla="*/ 249237 w 1568450"/>
              <a:gd name="connsiteY145" fmla="*/ 927560 h 2200276"/>
              <a:gd name="connsiteX146" fmla="*/ 237331 w 1568450"/>
              <a:gd name="connsiteY146" fmla="*/ 918039 h 2200276"/>
              <a:gd name="connsiteX147" fmla="*/ 224631 w 1568450"/>
              <a:gd name="connsiteY147" fmla="*/ 910898 h 2200276"/>
              <a:gd name="connsiteX148" fmla="*/ 211137 w 1568450"/>
              <a:gd name="connsiteY148" fmla="*/ 904550 h 2200276"/>
              <a:gd name="connsiteX149" fmla="*/ 196850 w 1568450"/>
              <a:gd name="connsiteY149" fmla="*/ 899789 h 2200276"/>
              <a:gd name="connsiteX150" fmla="*/ 182562 w 1568450"/>
              <a:gd name="connsiteY150" fmla="*/ 897409 h 2200276"/>
              <a:gd name="connsiteX151" fmla="*/ 167481 w 1568450"/>
              <a:gd name="connsiteY151" fmla="*/ 896615 h 2200276"/>
              <a:gd name="connsiteX152" fmla="*/ 153987 w 1568450"/>
              <a:gd name="connsiteY152" fmla="*/ 896615 h 2200276"/>
              <a:gd name="connsiteX153" fmla="*/ 142875 w 1568450"/>
              <a:gd name="connsiteY153" fmla="*/ 898996 h 2200276"/>
              <a:gd name="connsiteX154" fmla="*/ 131762 w 1568450"/>
              <a:gd name="connsiteY154" fmla="*/ 902169 h 2200276"/>
              <a:gd name="connsiteX155" fmla="*/ 121444 w 1568450"/>
              <a:gd name="connsiteY155" fmla="*/ 906137 h 2200276"/>
              <a:gd name="connsiteX156" fmla="*/ 111919 w 1568450"/>
              <a:gd name="connsiteY156" fmla="*/ 910898 h 2200276"/>
              <a:gd name="connsiteX157" fmla="*/ 103187 w 1568450"/>
              <a:gd name="connsiteY157" fmla="*/ 916452 h 2200276"/>
              <a:gd name="connsiteX158" fmla="*/ 96044 w 1568450"/>
              <a:gd name="connsiteY158" fmla="*/ 922800 h 2200276"/>
              <a:gd name="connsiteX159" fmla="*/ 93462 w 1568450"/>
              <a:gd name="connsiteY159" fmla="*/ 924807 h 2200276"/>
              <a:gd name="connsiteX160" fmla="*/ 86518 w 1568450"/>
              <a:gd name="connsiteY160" fmla="*/ 928971 h 2200276"/>
              <a:gd name="connsiteX161" fmla="*/ 80168 w 1568450"/>
              <a:gd name="connsiteY161" fmla="*/ 936108 h 2200276"/>
              <a:gd name="connsiteX162" fmla="*/ 69849 w 1568450"/>
              <a:gd name="connsiteY162" fmla="*/ 946418 h 2200276"/>
              <a:gd name="connsiteX163" fmla="*/ 61118 w 1568450"/>
              <a:gd name="connsiteY163" fmla="*/ 957522 h 2200276"/>
              <a:gd name="connsiteX164" fmla="*/ 55561 w 1568450"/>
              <a:gd name="connsiteY164" fmla="*/ 967039 h 2200276"/>
              <a:gd name="connsiteX165" fmla="*/ 51593 w 1568450"/>
              <a:gd name="connsiteY165" fmla="*/ 974969 h 2200276"/>
              <a:gd name="connsiteX166" fmla="*/ 46036 w 1568450"/>
              <a:gd name="connsiteY166" fmla="*/ 982107 h 2200276"/>
              <a:gd name="connsiteX167" fmla="*/ 41562 w 1568450"/>
              <a:gd name="connsiteY167" fmla="*/ 987323 h 2200276"/>
              <a:gd name="connsiteX168" fmla="*/ 38894 w 1568450"/>
              <a:gd name="connsiteY168" fmla="*/ 988657 h 2200276"/>
              <a:gd name="connsiteX169" fmla="*/ 34131 w 1568450"/>
              <a:gd name="connsiteY169" fmla="*/ 991037 h 2200276"/>
              <a:gd name="connsiteX170" fmla="*/ 28575 w 1568450"/>
              <a:gd name="connsiteY170" fmla="*/ 992624 h 2200276"/>
              <a:gd name="connsiteX171" fmla="*/ 23812 w 1568450"/>
              <a:gd name="connsiteY171" fmla="*/ 992624 h 2200276"/>
              <a:gd name="connsiteX172" fmla="*/ 19050 w 1568450"/>
              <a:gd name="connsiteY172" fmla="*/ 991037 h 2200276"/>
              <a:gd name="connsiteX173" fmla="*/ 14287 w 1568450"/>
              <a:gd name="connsiteY173" fmla="*/ 988657 h 2200276"/>
              <a:gd name="connsiteX174" fmla="*/ 11112 w 1568450"/>
              <a:gd name="connsiteY174" fmla="*/ 985483 h 2200276"/>
              <a:gd name="connsiteX175" fmla="*/ 7144 w 1568450"/>
              <a:gd name="connsiteY175" fmla="*/ 980722 h 2200276"/>
              <a:gd name="connsiteX176" fmla="*/ 3969 w 1568450"/>
              <a:gd name="connsiteY176" fmla="*/ 975168 h 2200276"/>
              <a:gd name="connsiteX177" fmla="*/ 2381 w 1568450"/>
              <a:gd name="connsiteY177" fmla="*/ 968027 h 2200276"/>
              <a:gd name="connsiteX178" fmla="*/ 0 w 1568450"/>
              <a:gd name="connsiteY178" fmla="*/ 959299 h 2200276"/>
              <a:gd name="connsiteX179" fmla="*/ 0 w 1568450"/>
              <a:gd name="connsiteY179" fmla="*/ 951364 h 2200276"/>
              <a:gd name="connsiteX180" fmla="*/ 0 w 1568450"/>
              <a:gd name="connsiteY180" fmla="*/ 314212 h 2200276"/>
              <a:gd name="connsiteX181" fmla="*/ 434181 w 1568450"/>
              <a:gd name="connsiteY181" fmla="*/ 314212 h 2200276"/>
              <a:gd name="connsiteX182" fmla="*/ 434181 w 1568450"/>
              <a:gd name="connsiteY182" fmla="*/ 312625 h 2200276"/>
              <a:gd name="connsiteX183" fmla="*/ 633412 w 1568450"/>
              <a:gd name="connsiteY183" fmla="*/ 312625 h 2200276"/>
              <a:gd name="connsiteX184" fmla="*/ 642937 w 1568450"/>
              <a:gd name="connsiteY184" fmla="*/ 312625 h 2200276"/>
              <a:gd name="connsiteX185" fmla="*/ 652462 w 1568450"/>
              <a:gd name="connsiteY185" fmla="*/ 310244 h 2200276"/>
              <a:gd name="connsiteX186" fmla="*/ 659606 w 1568450"/>
              <a:gd name="connsiteY186" fmla="*/ 307864 h 2200276"/>
              <a:gd name="connsiteX187" fmla="*/ 665956 w 1568450"/>
              <a:gd name="connsiteY187" fmla="*/ 304690 h 2200276"/>
              <a:gd name="connsiteX188" fmla="*/ 671512 w 1568450"/>
              <a:gd name="connsiteY188" fmla="*/ 299929 h 2200276"/>
              <a:gd name="connsiteX189" fmla="*/ 673894 w 1568450"/>
              <a:gd name="connsiteY189" fmla="*/ 292788 h 2200276"/>
              <a:gd name="connsiteX190" fmla="*/ 675481 w 1568450"/>
              <a:gd name="connsiteY190" fmla="*/ 285647 h 2200276"/>
              <a:gd name="connsiteX191" fmla="*/ 673894 w 1568450"/>
              <a:gd name="connsiteY191" fmla="*/ 277712 h 2200276"/>
              <a:gd name="connsiteX192" fmla="*/ 670719 w 1568450"/>
              <a:gd name="connsiteY192" fmla="*/ 270571 h 2200276"/>
              <a:gd name="connsiteX193" fmla="*/ 663575 w 1568450"/>
              <a:gd name="connsiteY193" fmla="*/ 261843 h 2200276"/>
              <a:gd name="connsiteX194" fmla="*/ 654050 w 1568450"/>
              <a:gd name="connsiteY194" fmla="*/ 254702 h 2200276"/>
              <a:gd name="connsiteX195" fmla="*/ 642937 w 1568450"/>
              <a:gd name="connsiteY195" fmla="*/ 249148 h 2200276"/>
              <a:gd name="connsiteX196" fmla="*/ 632619 w 1568450"/>
              <a:gd name="connsiteY196" fmla="*/ 242800 h 2200276"/>
              <a:gd name="connsiteX197" fmla="*/ 623094 w 1568450"/>
              <a:gd name="connsiteY197" fmla="*/ 234865 h 2200276"/>
              <a:gd name="connsiteX198" fmla="*/ 611187 w 1568450"/>
              <a:gd name="connsiteY198" fmla="*/ 223757 h 2200276"/>
              <a:gd name="connsiteX199" fmla="*/ 605631 w 1568450"/>
              <a:gd name="connsiteY199" fmla="*/ 216616 h 2200276"/>
              <a:gd name="connsiteX200" fmla="*/ 599281 w 1568450"/>
              <a:gd name="connsiteY200" fmla="*/ 209475 h 2200276"/>
              <a:gd name="connsiteX201" fmla="*/ 593725 w 1568450"/>
              <a:gd name="connsiteY201" fmla="*/ 201540 h 2200276"/>
              <a:gd name="connsiteX202" fmla="*/ 588962 w 1568450"/>
              <a:gd name="connsiteY202" fmla="*/ 192018 h 2200276"/>
              <a:gd name="connsiteX203" fmla="*/ 584994 w 1568450"/>
              <a:gd name="connsiteY203" fmla="*/ 182497 h 2200276"/>
              <a:gd name="connsiteX204" fmla="*/ 581819 w 1568450"/>
              <a:gd name="connsiteY204" fmla="*/ 170595 h 2200276"/>
              <a:gd name="connsiteX205" fmla="*/ 580231 w 1568450"/>
              <a:gd name="connsiteY205" fmla="*/ 158693 h 2200276"/>
              <a:gd name="connsiteX206" fmla="*/ 579437 w 1568450"/>
              <a:gd name="connsiteY206" fmla="*/ 145997 h 2200276"/>
              <a:gd name="connsiteX207" fmla="*/ 580231 w 1568450"/>
              <a:gd name="connsiteY207" fmla="*/ 131715 h 2200276"/>
              <a:gd name="connsiteX208" fmla="*/ 582612 w 1568450"/>
              <a:gd name="connsiteY208" fmla="*/ 115846 h 2200276"/>
              <a:gd name="connsiteX209" fmla="*/ 587375 w 1568450"/>
              <a:gd name="connsiteY209" fmla="*/ 101563 h 2200276"/>
              <a:gd name="connsiteX210" fmla="*/ 593725 w 1568450"/>
              <a:gd name="connsiteY210" fmla="*/ 88868 h 2200276"/>
              <a:gd name="connsiteX211" fmla="*/ 600869 w 1568450"/>
              <a:gd name="connsiteY211" fmla="*/ 75379 h 2200276"/>
              <a:gd name="connsiteX212" fmla="*/ 609600 w 1568450"/>
              <a:gd name="connsiteY212" fmla="*/ 64271 h 2200276"/>
              <a:gd name="connsiteX213" fmla="*/ 620712 w 1568450"/>
              <a:gd name="connsiteY213" fmla="*/ 53162 h 2200276"/>
              <a:gd name="connsiteX214" fmla="*/ 632619 w 1568450"/>
              <a:gd name="connsiteY214" fmla="*/ 42847 h 2200276"/>
              <a:gd name="connsiteX215" fmla="*/ 645319 w 1568450"/>
              <a:gd name="connsiteY215" fmla="*/ 33326 h 2200276"/>
              <a:gd name="connsiteX216" fmla="*/ 659606 w 1568450"/>
              <a:gd name="connsiteY216" fmla="*/ 24598 h 2200276"/>
              <a:gd name="connsiteX217" fmla="*/ 673894 w 1568450"/>
              <a:gd name="connsiteY217" fmla="*/ 17456 h 2200276"/>
              <a:gd name="connsiteX218" fmla="*/ 690562 w 1568450"/>
              <a:gd name="connsiteY218" fmla="*/ 11902 h 2200276"/>
              <a:gd name="connsiteX219" fmla="*/ 707231 w 1568450"/>
              <a:gd name="connsiteY219" fmla="*/ 5554 h 2200276"/>
              <a:gd name="connsiteX220" fmla="*/ 723900 w 1568450"/>
              <a:gd name="connsiteY220" fmla="*/ 2381 h 2200276"/>
              <a:gd name="connsiteX221" fmla="*/ 742950 w 1568450"/>
              <a:gd name="connsiteY221" fmla="*/ 794 h 2200276"/>
              <a:gd name="connsiteX222" fmla="*/ 760412 w 1568450"/>
              <a:gd name="connsiteY222" fmla="*/ 0 h 2200276"/>
              <a:gd name="connsiteX223" fmla="*/ 779462 w 1568450"/>
              <a:gd name="connsiteY223" fmla="*/ 794 h 2200276"/>
              <a:gd name="connsiteX224" fmla="*/ 797719 w 1568450"/>
              <a:gd name="connsiteY224" fmla="*/ 2381 h 2200276"/>
              <a:gd name="connsiteX225" fmla="*/ 809516 w 1568450"/>
              <a:gd name="connsiteY225" fmla="*/ 4525 h 2200276"/>
              <a:gd name="connsiteX226" fmla="*/ 821531 w 1568450"/>
              <a:gd name="connsiteY226" fmla="*/ 9104 h 2200276"/>
              <a:gd name="connsiteX227" fmla="*/ 836612 w 1568450"/>
              <a:gd name="connsiteY227" fmla="*/ 14663 h 2200276"/>
              <a:gd name="connsiteX228" fmla="*/ 852487 w 1568450"/>
              <a:gd name="connsiteY228" fmla="*/ 21811 h 2200276"/>
              <a:gd name="connsiteX229" fmla="*/ 866775 w 1568450"/>
              <a:gd name="connsiteY229" fmla="*/ 30547 h 2200276"/>
              <a:gd name="connsiteX230" fmla="*/ 879475 w 1568450"/>
              <a:gd name="connsiteY230" fmla="*/ 40076 h 2200276"/>
              <a:gd name="connsiteX231" fmla="*/ 891381 w 1568450"/>
              <a:gd name="connsiteY231" fmla="*/ 50400 h 2200276"/>
              <a:gd name="connsiteX232" fmla="*/ 900906 w 1568450"/>
              <a:gd name="connsiteY232" fmla="*/ 61518 h 2200276"/>
              <a:gd name="connsiteX233" fmla="*/ 910431 w 1568450"/>
              <a:gd name="connsiteY233" fmla="*/ 72637 h 2200276"/>
              <a:gd name="connsiteX234" fmla="*/ 919162 w 1568450"/>
              <a:gd name="connsiteY234" fmla="*/ 86137 h 2200276"/>
              <a:gd name="connsiteX235" fmla="*/ 924718 w 1568450"/>
              <a:gd name="connsiteY235" fmla="*/ 98844 h 2200276"/>
              <a:gd name="connsiteX236" fmla="*/ 929481 w 1568450"/>
              <a:gd name="connsiteY236" fmla="*/ 113138 h 2200276"/>
              <a:gd name="connsiteX237" fmla="*/ 931862 w 1568450"/>
              <a:gd name="connsiteY237" fmla="*/ 127433 h 2200276"/>
              <a:gd name="connsiteX238" fmla="*/ 933450 w 1568450"/>
              <a:gd name="connsiteY238" fmla="*/ 143316 h 2200276"/>
              <a:gd name="connsiteX239" fmla="*/ 931862 w 1568450"/>
              <a:gd name="connsiteY239" fmla="*/ 156022 h 2200276"/>
              <a:gd name="connsiteX240" fmla="*/ 929481 w 1568450"/>
              <a:gd name="connsiteY240" fmla="*/ 167935 h 2200276"/>
              <a:gd name="connsiteX241" fmla="*/ 927100 w 1568450"/>
              <a:gd name="connsiteY241" fmla="*/ 179847 h 2200276"/>
              <a:gd name="connsiteX242" fmla="*/ 922337 w 1568450"/>
              <a:gd name="connsiteY242" fmla="*/ 189377 h 2200276"/>
              <a:gd name="connsiteX243" fmla="*/ 917575 w 1568450"/>
              <a:gd name="connsiteY243" fmla="*/ 198907 h 2200276"/>
              <a:gd name="connsiteX244" fmla="*/ 912812 w 1568450"/>
              <a:gd name="connsiteY244" fmla="*/ 206848 h 2200276"/>
              <a:gd name="connsiteX245" fmla="*/ 907256 w 1568450"/>
              <a:gd name="connsiteY245" fmla="*/ 213995 h 2200276"/>
              <a:gd name="connsiteX246" fmla="*/ 900906 w 1568450"/>
              <a:gd name="connsiteY246" fmla="*/ 221143 h 2200276"/>
              <a:gd name="connsiteX247" fmla="*/ 889000 w 1568450"/>
              <a:gd name="connsiteY247" fmla="*/ 232261 h 2200276"/>
              <a:gd name="connsiteX248" fmla="*/ 878681 w 1568450"/>
              <a:gd name="connsiteY248" fmla="*/ 240202 h 2200276"/>
              <a:gd name="connsiteX249" fmla="*/ 869156 w 1568450"/>
              <a:gd name="connsiteY249" fmla="*/ 246556 h 2200276"/>
              <a:gd name="connsiteX250" fmla="*/ 857250 w 1568450"/>
              <a:gd name="connsiteY250" fmla="*/ 252115 h 2200276"/>
              <a:gd name="connsiteX251" fmla="*/ 848518 w 1568450"/>
              <a:gd name="connsiteY251" fmla="*/ 259262 h 2200276"/>
              <a:gd name="connsiteX252" fmla="*/ 841375 w 1568450"/>
              <a:gd name="connsiteY252" fmla="*/ 267998 h 2200276"/>
              <a:gd name="connsiteX253" fmla="*/ 838200 w 1568450"/>
              <a:gd name="connsiteY253" fmla="*/ 275145 h 2200276"/>
              <a:gd name="connsiteX254" fmla="*/ 835818 w 1568450"/>
              <a:gd name="connsiteY254" fmla="*/ 283087 h 2200276"/>
              <a:gd name="connsiteX255" fmla="*/ 836612 w 1568450"/>
              <a:gd name="connsiteY255" fmla="*/ 290234 h 2200276"/>
              <a:gd name="connsiteX256" fmla="*/ 840581 w 1568450"/>
              <a:gd name="connsiteY256" fmla="*/ 296587 h 2200276"/>
              <a:gd name="connsiteX257" fmla="*/ 846137 w 1568450"/>
              <a:gd name="connsiteY257" fmla="*/ 302146 h 2200276"/>
              <a:gd name="connsiteX258" fmla="*/ 853488 w 1568450"/>
              <a:gd name="connsiteY258" fmla="*/ 302146 h 2200276"/>
              <a:gd name="connsiteX259" fmla="*/ 856456 w 1568450"/>
              <a:gd name="connsiteY259" fmla="*/ 304690 h 2200276"/>
              <a:gd name="connsiteX260" fmla="*/ 862806 w 1568450"/>
              <a:gd name="connsiteY260" fmla="*/ 307864 h 2200276"/>
              <a:gd name="connsiteX261" fmla="*/ 869950 w 1568450"/>
              <a:gd name="connsiteY261" fmla="*/ 310244 h 2200276"/>
              <a:gd name="connsiteX262" fmla="*/ 879475 w 1568450"/>
              <a:gd name="connsiteY262" fmla="*/ 312625 h 2200276"/>
              <a:gd name="connsiteX263" fmla="*/ 889000 w 1568450"/>
              <a:gd name="connsiteY263" fmla="*/ 312625 h 2200276"/>
              <a:gd name="connsiteX264" fmla="*/ 1208087 w 1568450"/>
              <a:gd name="connsiteY264" fmla="*/ 312626 h 2200276"/>
              <a:gd name="connsiteX265" fmla="*/ 1208087 w 1568450"/>
              <a:gd name="connsiteY265" fmla="*/ 314213 h 2200276"/>
              <a:gd name="connsiteX266" fmla="*/ 1565417 w 1568450"/>
              <a:gd name="connsiteY266" fmla="*/ 314213 h 2200276"/>
              <a:gd name="connsiteX267" fmla="*/ 1567788 w 1568450"/>
              <a:gd name="connsiteY267" fmla="*/ 994249 h 2200276"/>
              <a:gd name="connsiteX268" fmla="*/ 1566200 w 1568450"/>
              <a:gd name="connsiteY268" fmla="*/ 1002183 h 2200276"/>
              <a:gd name="connsiteX269" fmla="*/ 1565406 w 1568450"/>
              <a:gd name="connsiteY269" fmla="*/ 1010910 h 2200276"/>
              <a:gd name="connsiteX270" fmla="*/ 1563024 w 1568450"/>
              <a:gd name="connsiteY270" fmla="*/ 1018051 h 2200276"/>
              <a:gd name="connsiteX271" fmla="*/ 1560642 w 1568450"/>
              <a:gd name="connsiteY271" fmla="*/ 1022812 h 2200276"/>
              <a:gd name="connsiteX272" fmla="*/ 1556671 w 1568450"/>
              <a:gd name="connsiteY272" fmla="*/ 1027572 h 2200276"/>
              <a:gd name="connsiteX273" fmla="*/ 1551907 w 1568450"/>
              <a:gd name="connsiteY273" fmla="*/ 1030746 h 2200276"/>
              <a:gd name="connsiteX274" fmla="*/ 1548730 w 1568450"/>
              <a:gd name="connsiteY274" fmla="*/ 1033126 h 2200276"/>
              <a:gd name="connsiteX275" fmla="*/ 1543966 w 1568450"/>
              <a:gd name="connsiteY275" fmla="*/ 1034713 h 2200276"/>
              <a:gd name="connsiteX276" fmla="*/ 1537613 w 1568450"/>
              <a:gd name="connsiteY276" fmla="*/ 1034713 h 2200276"/>
              <a:gd name="connsiteX277" fmla="*/ 1532849 w 1568450"/>
              <a:gd name="connsiteY277" fmla="*/ 1033126 h 2200276"/>
              <a:gd name="connsiteX278" fmla="*/ 1528226 w 1568450"/>
              <a:gd name="connsiteY278" fmla="*/ 1031146 h 2200276"/>
              <a:gd name="connsiteX279" fmla="*/ 1524000 w 1568450"/>
              <a:gd name="connsiteY279" fmla="*/ 1028330 h 2200276"/>
              <a:gd name="connsiteX280" fmla="*/ 1519264 w 1568450"/>
              <a:gd name="connsiteY280" fmla="*/ 1024778 h 2200276"/>
              <a:gd name="connsiteX281" fmla="*/ 1517289 w 1568450"/>
              <a:gd name="connsiteY281" fmla="*/ 1023087 h 2200276"/>
              <a:gd name="connsiteX282" fmla="*/ 1512887 w 1568450"/>
              <a:gd name="connsiteY282" fmla="*/ 1017222 h 2200276"/>
              <a:gd name="connsiteX283" fmla="*/ 1512079 w 1568450"/>
              <a:gd name="connsiteY283" fmla="*/ 1016278 h 2200276"/>
              <a:gd name="connsiteX284" fmla="*/ 1507438 w 1568450"/>
              <a:gd name="connsiteY284" fmla="*/ 1009324 h 2200276"/>
              <a:gd name="connsiteX285" fmla="*/ 1503467 w 1568450"/>
              <a:gd name="connsiteY285" fmla="*/ 1001389 h 2200276"/>
              <a:gd name="connsiteX286" fmla="*/ 1497909 w 1568450"/>
              <a:gd name="connsiteY286" fmla="*/ 991868 h 2200276"/>
              <a:gd name="connsiteX287" fmla="*/ 1489174 w 1568450"/>
              <a:gd name="connsiteY287" fmla="*/ 980761 h 2200276"/>
              <a:gd name="connsiteX288" fmla="*/ 1478851 w 1568450"/>
              <a:gd name="connsiteY288" fmla="*/ 969653 h 2200276"/>
              <a:gd name="connsiteX289" fmla="*/ 1471704 w 1568450"/>
              <a:gd name="connsiteY289" fmla="*/ 963306 h 2200276"/>
              <a:gd name="connsiteX290" fmla="*/ 1464557 w 1568450"/>
              <a:gd name="connsiteY290" fmla="*/ 958545 h 2200276"/>
              <a:gd name="connsiteX291" fmla="*/ 1460480 w 1568450"/>
              <a:gd name="connsiteY291" fmla="*/ 955952 h 2200276"/>
              <a:gd name="connsiteX292" fmla="*/ 1457325 w 1568450"/>
              <a:gd name="connsiteY292" fmla="*/ 953745 h 2200276"/>
              <a:gd name="connsiteX293" fmla="*/ 1455842 w 1568450"/>
              <a:gd name="connsiteY293" fmla="*/ 953003 h 2200276"/>
              <a:gd name="connsiteX294" fmla="*/ 1455822 w 1568450"/>
              <a:gd name="connsiteY294" fmla="*/ 952991 h 2200276"/>
              <a:gd name="connsiteX295" fmla="*/ 1446293 w 1568450"/>
              <a:gd name="connsiteY295" fmla="*/ 948231 h 2200276"/>
              <a:gd name="connsiteX296" fmla="*/ 1436764 w 1568450"/>
              <a:gd name="connsiteY296" fmla="*/ 944264 h 2200276"/>
              <a:gd name="connsiteX297" fmla="*/ 1424853 w 1568450"/>
              <a:gd name="connsiteY297" fmla="*/ 941090 h 2200276"/>
              <a:gd name="connsiteX298" fmla="*/ 1412942 w 1568450"/>
              <a:gd name="connsiteY298" fmla="*/ 938710 h 2200276"/>
              <a:gd name="connsiteX299" fmla="*/ 1400236 w 1568450"/>
              <a:gd name="connsiteY299" fmla="*/ 938710 h 2200276"/>
              <a:gd name="connsiteX300" fmla="*/ 1385149 w 1568450"/>
              <a:gd name="connsiteY300" fmla="*/ 938710 h 2200276"/>
              <a:gd name="connsiteX301" fmla="*/ 1370855 w 1568450"/>
              <a:gd name="connsiteY301" fmla="*/ 941883 h 2200276"/>
              <a:gd name="connsiteX302" fmla="*/ 1356562 w 1568450"/>
              <a:gd name="connsiteY302" fmla="*/ 946644 h 2200276"/>
              <a:gd name="connsiteX303" fmla="*/ 1343062 w 1568450"/>
              <a:gd name="connsiteY303" fmla="*/ 952991 h 2200276"/>
              <a:gd name="connsiteX304" fmla="*/ 1330357 w 1568450"/>
              <a:gd name="connsiteY304" fmla="*/ 960132 h 2200276"/>
              <a:gd name="connsiteX305" fmla="*/ 1318446 w 1568450"/>
              <a:gd name="connsiteY305" fmla="*/ 969653 h 2200276"/>
              <a:gd name="connsiteX306" fmla="*/ 1307328 w 1568450"/>
              <a:gd name="connsiteY306" fmla="*/ 979967 h 2200276"/>
              <a:gd name="connsiteX307" fmla="*/ 1297005 w 1568450"/>
              <a:gd name="connsiteY307" fmla="*/ 991868 h 2200276"/>
              <a:gd name="connsiteX308" fmla="*/ 1287476 w 1568450"/>
              <a:gd name="connsiteY308" fmla="*/ 1003770 h 2200276"/>
              <a:gd name="connsiteX309" fmla="*/ 1279536 w 1568450"/>
              <a:gd name="connsiteY309" fmla="*/ 1018051 h 2200276"/>
              <a:gd name="connsiteX310" fmla="*/ 1272389 w 1568450"/>
              <a:gd name="connsiteY310" fmla="*/ 1033126 h 2200276"/>
              <a:gd name="connsiteX311" fmla="*/ 1265242 w 1568450"/>
              <a:gd name="connsiteY311" fmla="*/ 1048994 h 2200276"/>
              <a:gd name="connsiteX312" fmla="*/ 1260477 w 1568450"/>
              <a:gd name="connsiteY312" fmla="*/ 1065656 h 2200276"/>
              <a:gd name="connsiteX313" fmla="*/ 1256507 w 1568450"/>
              <a:gd name="connsiteY313" fmla="*/ 1083111 h 2200276"/>
              <a:gd name="connsiteX314" fmla="*/ 1254125 w 1568450"/>
              <a:gd name="connsiteY314" fmla="*/ 1100567 h 2200276"/>
              <a:gd name="connsiteX315" fmla="*/ 1254125 w 1568450"/>
              <a:gd name="connsiteY315" fmla="*/ 1119609 h 2200276"/>
              <a:gd name="connsiteX316" fmla="*/ 1254125 w 1568450"/>
              <a:gd name="connsiteY316" fmla="*/ 1120372 h 2200276"/>
              <a:gd name="connsiteX317" fmla="*/ 1254125 w 1568450"/>
              <a:gd name="connsiteY317" fmla="*/ 1138650 h 2200276"/>
              <a:gd name="connsiteX318" fmla="*/ 1256507 w 1568450"/>
              <a:gd name="connsiteY318" fmla="*/ 1156899 h 2200276"/>
              <a:gd name="connsiteX319" fmla="*/ 1260477 w 1568450"/>
              <a:gd name="connsiteY319" fmla="*/ 1174354 h 2200276"/>
              <a:gd name="connsiteX320" fmla="*/ 1265242 w 1568450"/>
              <a:gd name="connsiteY320" fmla="*/ 1191016 h 2200276"/>
              <a:gd name="connsiteX321" fmla="*/ 1269415 w 1568450"/>
              <a:gd name="connsiteY321" fmla="*/ 1199816 h 2200276"/>
              <a:gd name="connsiteX322" fmla="*/ 1272381 w 1568450"/>
              <a:gd name="connsiteY322" fmla="*/ 1206860 h 2200276"/>
              <a:gd name="connsiteX323" fmla="*/ 1275940 w 1568450"/>
              <a:gd name="connsiteY323" fmla="*/ 1213973 h 2200276"/>
              <a:gd name="connsiteX324" fmla="*/ 1279536 w 1568450"/>
              <a:gd name="connsiteY324" fmla="*/ 1221959 h 2200276"/>
              <a:gd name="connsiteX325" fmla="*/ 1287476 w 1568450"/>
              <a:gd name="connsiteY325" fmla="*/ 1236241 h 2200276"/>
              <a:gd name="connsiteX326" fmla="*/ 1297005 w 1568450"/>
              <a:gd name="connsiteY326" fmla="*/ 1248935 h 2200276"/>
              <a:gd name="connsiteX327" fmla="*/ 1301770 w 1568450"/>
              <a:gd name="connsiteY327" fmla="*/ 1254062 h 2200276"/>
              <a:gd name="connsiteX328" fmla="*/ 1307306 w 1568450"/>
              <a:gd name="connsiteY328" fmla="*/ 1261609 h 2200276"/>
              <a:gd name="connsiteX329" fmla="*/ 1319212 w 1568450"/>
              <a:gd name="connsiteY329" fmla="*/ 1272717 h 2200276"/>
              <a:gd name="connsiteX330" fmla="*/ 1331119 w 1568450"/>
              <a:gd name="connsiteY330" fmla="*/ 1280652 h 2200276"/>
              <a:gd name="connsiteX331" fmla="*/ 1344612 w 1568450"/>
              <a:gd name="connsiteY331" fmla="*/ 1289380 h 2200276"/>
              <a:gd name="connsiteX332" fmla="*/ 1357312 w 1568450"/>
              <a:gd name="connsiteY332" fmla="*/ 1294934 h 2200276"/>
              <a:gd name="connsiteX333" fmla="*/ 1371600 w 1568450"/>
              <a:gd name="connsiteY333" fmla="*/ 1299695 h 2200276"/>
              <a:gd name="connsiteX334" fmla="*/ 1385887 w 1568450"/>
              <a:gd name="connsiteY334" fmla="*/ 1302075 h 2200276"/>
              <a:gd name="connsiteX335" fmla="*/ 1401762 w 1568450"/>
              <a:gd name="connsiteY335" fmla="*/ 1303662 h 2200276"/>
              <a:gd name="connsiteX336" fmla="*/ 1414462 w 1568450"/>
              <a:gd name="connsiteY336" fmla="*/ 1302075 h 2200276"/>
              <a:gd name="connsiteX337" fmla="*/ 1426369 w 1568450"/>
              <a:gd name="connsiteY337" fmla="*/ 1299695 h 2200276"/>
              <a:gd name="connsiteX338" fmla="*/ 1436687 w 1568450"/>
              <a:gd name="connsiteY338" fmla="*/ 1297314 h 2200276"/>
              <a:gd name="connsiteX339" fmla="*/ 1447800 w 1568450"/>
              <a:gd name="connsiteY339" fmla="*/ 1292554 h 2200276"/>
              <a:gd name="connsiteX340" fmla="*/ 1457325 w 1568450"/>
              <a:gd name="connsiteY340" fmla="*/ 1287793 h 2200276"/>
              <a:gd name="connsiteX341" fmla="*/ 1465262 w 1568450"/>
              <a:gd name="connsiteY341" fmla="*/ 1283032 h 2200276"/>
              <a:gd name="connsiteX342" fmla="*/ 1472406 w 1568450"/>
              <a:gd name="connsiteY342" fmla="*/ 1277478 h 2200276"/>
              <a:gd name="connsiteX343" fmla="*/ 1479550 w 1568450"/>
              <a:gd name="connsiteY343" fmla="*/ 1271130 h 2200276"/>
              <a:gd name="connsiteX344" fmla="*/ 1490662 w 1568450"/>
              <a:gd name="connsiteY344" fmla="*/ 1259228 h 2200276"/>
              <a:gd name="connsiteX345" fmla="*/ 1497806 w 1568450"/>
              <a:gd name="connsiteY345" fmla="*/ 1248913 h 2200276"/>
              <a:gd name="connsiteX346" fmla="*/ 1503362 w 1568450"/>
              <a:gd name="connsiteY346" fmla="*/ 1239392 h 2200276"/>
              <a:gd name="connsiteX347" fmla="*/ 1508125 w 1568450"/>
              <a:gd name="connsiteY347" fmla="*/ 1230663 h 2200276"/>
              <a:gd name="connsiteX348" fmla="*/ 1512887 w 1568450"/>
              <a:gd name="connsiteY348" fmla="*/ 1223522 h 2200276"/>
              <a:gd name="connsiteX349" fmla="*/ 1517650 w 1568450"/>
              <a:gd name="connsiteY349" fmla="*/ 1217968 h 2200276"/>
              <a:gd name="connsiteX350" fmla="*/ 1524000 w 1568450"/>
              <a:gd name="connsiteY350" fmla="*/ 1213207 h 2200276"/>
              <a:gd name="connsiteX351" fmla="*/ 1528762 w 1568450"/>
              <a:gd name="connsiteY351" fmla="*/ 1209240 h 2200276"/>
              <a:gd name="connsiteX352" fmla="*/ 1534319 w 1568450"/>
              <a:gd name="connsiteY352" fmla="*/ 1208446 h 2200276"/>
              <a:gd name="connsiteX353" fmla="*/ 1539081 w 1568450"/>
              <a:gd name="connsiteY353" fmla="*/ 1206860 h 2200276"/>
              <a:gd name="connsiteX354" fmla="*/ 1544637 w 1568450"/>
              <a:gd name="connsiteY354" fmla="*/ 1206860 h 2200276"/>
              <a:gd name="connsiteX355" fmla="*/ 1549400 w 1568450"/>
              <a:gd name="connsiteY355" fmla="*/ 1208446 h 2200276"/>
              <a:gd name="connsiteX356" fmla="*/ 1554162 w 1568450"/>
              <a:gd name="connsiteY356" fmla="*/ 1210827 h 2200276"/>
              <a:gd name="connsiteX357" fmla="*/ 1557662 w 1568450"/>
              <a:gd name="connsiteY357" fmla="*/ 1213625 h 2200276"/>
              <a:gd name="connsiteX358" fmla="*/ 1558755 w 1568450"/>
              <a:gd name="connsiteY358" fmla="*/ 1214936 h 2200276"/>
              <a:gd name="connsiteX359" fmla="*/ 1561306 w 1568450"/>
              <a:gd name="connsiteY359" fmla="*/ 1218762 h 2200276"/>
              <a:gd name="connsiteX360" fmla="*/ 1563687 w 1568450"/>
              <a:gd name="connsiteY360" fmla="*/ 1223522 h 2200276"/>
              <a:gd name="connsiteX361" fmla="*/ 1566069 w 1568450"/>
              <a:gd name="connsiteY361" fmla="*/ 1230663 h 2200276"/>
              <a:gd name="connsiteX362" fmla="*/ 1567656 w 1568450"/>
              <a:gd name="connsiteY362" fmla="*/ 1239392 h 2200276"/>
              <a:gd name="connsiteX363" fmla="*/ 1567788 w 1568450"/>
              <a:gd name="connsiteY363" fmla="*/ 1240974 h 2200276"/>
              <a:gd name="connsiteX364" fmla="*/ 1567788 w 1568450"/>
              <a:gd name="connsiteY364" fmla="*/ 1248142 h 2200276"/>
              <a:gd name="connsiteX365" fmla="*/ 1567788 w 1568450"/>
              <a:gd name="connsiteY365" fmla="*/ 1883668 h 2200276"/>
              <a:gd name="connsiteX366" fmla="*/ 1568450 w 1568450"/>
              <a:gd name="connsiteY366" fmla="*/ 1883668 h 220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1568450" h="2200276">
                <a:moveTo>
                  <a:pt x="1568450" y="1883668"/>
                </a:moveTo>
                <a:lnTo>
                  <a:pt x="1568450" y="1884478"/>
                </a:lnTo>
                <a:lnTo>
                  <a:pt x="1134269" y="1884478"/>
                </a:lnTo>
                <a:lnTo>
                  <a:pt x="1134269" y="1885271"/>
                </a:lnTo>
                <a:lnTo>
                  <a:pt x="935037" y="1885271"/>
                </a:lnTo>
                <a:lnTo>
                  <a:pt x="925512" y="1886858"/>
                </a:lnTo>
                <a:lnTo>
                  <a:pt x="915987" y="1887651"/>
                </a:lnTo>
                <a:lnTo>
                  <a:pt x="908844" y="1890032"/>
                </a:lnTo>
                <a:lnTo>
                  <a:pt x="903287" y="1893999"/>
                </a:lnTo>
                <a:lnTo>
                  <a:pt x="896937" y="1899553"/>
                </a:lnTo>
                <a:lnTo>
                  <a:pt x="896793" y="1899877"/>
                </a:lnTo>
                <a:lnTo>
                  <a:pt x="893110" y="1899877"/>
                </a:lnTo>
                <a:lnTo>
                  <a:pt x="887412" y="1904860"/>
                </a:lnTo>
                <a:lnTo>
                  <a:pt x="884237" y="1912002"/>
                </a:lnTo>
                <a:lnTo>
                  <a:pt x="884237" y="1919143"/>
                </a:lnTo>
                <a:lnTo>
                  <a:pt x="885031" y="1926284"/>
                </a:lnTo>
                <a:lnTo>
                  <a:pt x="889000" y="1935012"/>
                </a:lnTo>
                <a:lnTo>
                  <a:pt x="896144" y="1942153"/>
                </a:lnTo>
                <a:lnTo>
                  <a:pt x="904081" y="1949294"/>
                </a:lnTo>
                <a:lnTo>
                  <a:pt x="915987" y="1956436"/>
                </a:lnTo>
                <a:lnTo>
                  <a:pt x="925512" y="1961990"/>
                </a:lnTo>
                <a:lnTo>
                  <a:pt x="936625" y="1969131"/>
                </a:lnTo>
                <a:lnTo>
                  <a:pt x="947737" y="1980239"/>
                </a:lnTo>
                <a:lnTo>
                  <a:pt x="954087" y="1987381"/>
                </a:lnTo>
                <a:lnTo>
                  <a:pt x="959644" y="1994522"/>
                </a:lnTo>
                <a:lnTo>
                  <a:pt x="964406" y="2003250"/>
                </a:lnTo>
                <a:lnTo>
                  <a:pt x="969169" y="2011978"/>
                </a:lnTo>
                <a:lnTo>
                  <a:pt x="973931" y="2022293"/>
                </a:lnTo>
                <a:lnTo>
                  <a:pt x="976312" y="2033402"/>
                </a:lnTo>
                <a:lnTo>
                  <a:pt x="978694" y="2045304"/>
                </a:lnTo>
                <a:lnTo>
                  <a:pt x="980281" y="2057999"/>
                </a:lnTo>
                <a:lnTo>
                  <a:pt x="978694" y="2073868"/>
                </a:lnTo>
                <a:lnTo>
                  <a:pt x="976312" y="2088151"/>
                </a:lnTo>
                <a:lnTo>
                  <a:pt x="971550" y="2102433"/>
                </a:lnTo>
                <a:lnTo>
                  <a:pt x="965994" y="2115128"/>
                </a:lnTo>
                <a:lnTo>
                  <a:pt x="957262" y="2127824"/>
                </a:lnTo>
                <a:lnTo>
                  <a:pt x="949325" y="2139726"/>
                </a:lnTo>
                <a:lnTo>
                  <a:pt x="939006" y="2151628"/>
                </a:lnTo>
                <a:lnTo>
                  <a:pt x="927100" y="2162736"/>
                </a:lnTo>
                <a:lnTo>
                  <a:pt x="913606" y="2170671"/>
                </a:lnTo>
                <a:lnTo>
                  <a:pt x="903451" y="2177438"/>
                </a:lnTo>
                <a:lnTo>
                  <a:pt x="893762" y="2182026"/>
                </a:lnTo>
                <a:lnTo>
                  <a:pt x="877887" y="2188374"/>
                </a:lnTo>
                <a:lnTo>
                  <a:pt x="861219" y="2193135"/>
                </a:lnTo>
                <a:lnTo>
                  <a:pt x="843756" y="2196309"/>
                </a:lnTo>
                <a:lnTo>
                  <a:pt x="826294" y="2198689"/>
                </a:lnTo>
                <a:lnTo>
                  <a:pt x="807244" y="2200276"/>
                </a:lnTo>
                <a:lnTo>
                  <a:pt x="788987" y="2198689"/>
                </a:lnTo>
                <a:lnTo>
                  <a:pt x="769937" y="2196309"/>
                </a:lnTo>
                <a:lnTo>
                  <a:pt x="753269" y="2193135"/>
                </a:lnTo>
                <a:lnTo>
                  <a:pt x="736600" y="2188374"/>
                </a:lnTo>
                <a:lnTo>
                  <a:pt x="720725" y="2182026"/>
                </a:lnTo>
                <a:lnTo>
                  <a:pt x="704850" y="2174885"/>
                </a:lnTo>
                <a:lnTo>
                  <a:pt x="692150" y="2165364"/>
                </a:lnTo>
                <a:lnTo>
                  <a:pt x="678656" y="2157429"/>
                </a:lnTo>
                <a:lnTo>
                  <a:pt x="666750" y="2146321"/>
                </a:lnTo>
                <a:lnTo>
                  <a:pt x="656431" y="2134419"/>
                </a:lnTo>
                <a:lnTo>
                  <a:pt x="646906" y="2122517"/>
                </a:lnTo>
                <a:lnTo>
                  <a:pt x="639762" y="2109821"/>
                </a:lnTo>
                <a:lnTo>
                  <a:pt x="633412" y="2097126"/>
                </a:lnTo>
                <a:lnTo>
                  <a:pt x="628650" y="2082844"/>
                </a:lnTo>
                <a:lnTo>
                  <a:pt x="626269" y="2068561"/>
                </a:lnTo>
                <a:lnTo>
                  <a:pt x="625475" y="2052692"/>
                </a:lnTo>
                <a:lnTo>
                  <a:pt x="625475" y="2039997"/>
                </a:lnTo>
                <a:lnTo>
                  <a:pt x="627856" y="2028095"/>
                </a:lnTo>
                <a:lnTo>
                  <a:pt x="631031" y="2016986"/>
                </a:lnTo>
                <a:lnTo>
                  <a:pt x="635000" y="2006671"/>
                </a:lnTo>
                <a:lnTo>
                  <a:pt x="639762" y="1997943"/>
                </a:lnTo>
                <a:lnTo>
                  <a:pt x="645319" y="1989215"/>
                </a:lnTo>
                <a:lnTo>
                  <a:pt x="651669" y="1982074"/>
                </a:lnTo>
                <a:lnTo>
                  <a:pt x="657225" y="1974932"/>
                </a:lnTo>
                <a:lnTo>
                  <a:pt x="669131" y="1963824"/>
                </a:lnTo>
                <a:lnTo>
                  <a:pt x="676469" y="1958322"/>
                </a:lnTo>
                <a:lnTo>
                  <a:pt x="680244" y="1956436"/>
                </a:lnTo>
                <a:lnTo>
                  <a:pt x="683085" y="1954469"/>
                </a:lnTo>
                <a:lnTo>
                  <a:pt x="689769" y="1951129"/>
                </a:lnTo>
                <a:lnTo>
                  <a:pt x="700087" y="1943987"/>
                </a:lnTo>
                <a:lnTo>
                  <a:pt x="709612" y="1936846"/>
                </a:lnTo>
                <a:lnTo>
                  <a:pt x="715962" y="1929705"/>
                </a:lnTo>
                <a:lnTo>
                  <a:pt x="720725" y="1920977"/>
                </a:lnTo>
                <a:lnTo>
                  <a:pt x="721519" y="1913836"/>
                </a:lnTo>
                <a:lnTo>
                  <a:pt x="720725" y="1906695"/>
                </a:lnTo>
                <a:lnTo>
                  <a:pt x="716756" y="1899553"/>
                </a:lnTo>
                <a:lnTo>
                  <a:pt x="711994" y="1893999"/>
                </a:lnTo>
                <a:lnTo>
                  <a:pt x="706437" y="1890032"/>
                </a:lnTo>
                <a:lnTo>
                  <a:pt x="697706" y="1887651"/>
                </a:lnTo>
                <a:lnTo>
                  <a:pt x="689769" y="1886858"/>
                </a:lnTo>
                <a:lnTo>
                  <a:pt x="680244" y="1885271"/>
                </a:lnTo>
                <a:lnTo>
                  <a:pt x="361156" y="1885271"/>
                </a:lnTo>
                <a:lnTo>
                  <a:pt x="361156" y="1884478"/>
                </a:lnTo>
                <a:lnTo>
                  <a:pt x="0" y="1884478"/>
                </a:lnTo>
                <a:lnTo>
                  <a:pt x="0" y="1206066"/>
                </a:lnTo>
                <a:lnTo>
                  <a:pt x="0" y="1196545"/>
                </a:lnTo>
                <a:lnTo>
                  <a:pt x="2381" y="1188610"/>
                </a:lnTo>
                <a:lnTo>
                  <a:pt x="3969" y="1181469"/>
                </a:lnTo>
                <a:lnTo>
                  <a:pt x="7144" y="1176708"/>
                </a:lnTo>
                <a:lnTo>
                  <a:pt x="11112" y="1171947"/>
                </a:lnTo>
                <a:lnTo>
                  <a:pt x="11505" y="1171456"/>
                </a:lnTo>
                <a:lnTo>
                  <a:pt x="15080" y="1170861"/>
                </a:lnTo>
                <a:lnTo>
                  <a:pt x="19843" y="1170861"/>
                </a:lnTo>
                <a:lnTo>
                  <a:pt x="26193" y="1171654"/>
                </a:lnTo>
                <a:lnTo>
                  <a:pt x="30955" y="1174033"/>
                </a:lnTo>
                <a:lnTo>
                  <a:pt x="36511" y="1177998"/>
                </a:lnTo>
                <a:lnTo>
                  <a:pt x="41274" y="1182757"/>
                </a:lnTo>
                <a:lnTo>
                  <a:pt x="46036" y="1188308"/>
                </a:lnTo>
                <a:lnTo>
                  <a:pt x="51593" y="1195446"/>
                </a:lnTo>
                <a:lnTo>
                  <a:pt x="55561" y="1204170"/>
                </a:lnTo>
                <a:lnTo>
                  <a:pt x="61118" y="1213687"/>
                </a:lnTo>
                <a:lnTo>
                  <a:pt x="69849" y="1223997"/>
                </a:lnTo>
                <a:lnTo>
                  <a:pt x="80168" y="1235893"/>
                </a:lnTo>
                <a:lnTo>
                  <a:pt x="86518" y="1241445"/>
                </a:lnTo>
                <a:lnTo>
                  <a:pt x="94455" y="1247790"/>
                </a:lnTo>
                <a:lnTo>
                  <a:pt x="103186" y="1252548"/>
                </a:lnTo>
                <a:lnTo>
                  <a:pt x="112711" y="1257307"/>
                </a:lnTo>
                <a:lnTo>
                  <a:pt x="122236" y="1262065"/>
                </a:lnTo>
                <a:lnTo>
                  <a:pt x="134143" y="1264444"/>
                </a:lnTo>
                <a:lnTo>
                  <a:pt x="146049" y="1266823"/>
                </a:lnTo>
                <a:lnTo>
                  <a:pt x="158749" y="1267617"/>
                </a:lnTo>
                <a:lnTo>
                  <a:pt x="173036" y="1266823"/>
                </a:lnTo>
                <a:lnTo>
                  <a:pt x="188118" y="1262858"/>
                </a:lnTo>
                <a:lnTo>
                  <a:pt x="201611" y="1259686"/>
                </a:lnTo>
                <a:lnTo>
                  <a:pt x="215899" y="1252548"/>
                </a:lnTo>
                <a:lnTo>
                  <a:pt x="227805" y="1245410"/>
                </a:lnTo>
                <a:lnTo>
                  <a:pt x="240505" y="1235893"/>
                </a:lnTo>
                <a:lnTo>
                  <a:pt x="251618" y="1226376"/>
                </a:lnTo>
                <a:lnTo>
                  <a:pt x="252067" y="1225858"/>
                </a:lnTo>
                <a:lnTo>
                  <a:pt x="260350" y="1218762"/>
                </a:lnTo>
                <a:lnTo>
                  <a:pt x="270669" y="1206860"/>
                </a:lnTo>
                <a:lnTo>
                  <a:pt x="280194" y="1194164"/>
                </a:lnTo>
                <a:lnTo>
                  <a:pt x="288131" y="1179882"/>
                </a:lnTo>
                <a:lnTo>
                  <a:pt x="295275" y="1164806"/>
                </a:lnTo>
                <a:lnTo>
                  <a:pt x="302419" y="1148937"/>
                </a:lnTo>
                <a:lnTo>
                  <a:pt x="307181" y="1132274"/>
                </a:lnTo>
                <a:lnTo>
                  <a:pt x="311150" y="1114818"/>
                </a:lnTo>
                <a:lnTo>
                  <a:pt x="313531" y="1096568"/>
                </a:lnTo>
                <a:lnTo>
                  <a:pt x="313531" y="1078318"/>
                </a:lnTo>
                <a:lnTo>
                  <a:pt x="313531" y="1060069"/>
                </a:lnTo>
                <a:lnTo>
                  <a:pt x="311150" y="1041026"/>
                </a:lnTo>
                <a:lnTo>
                  <a:pt x="307181" y="1024363"/>
                </a:lnTo>
                <a:lnTo>
                  <a:pt x="302419" y="1006907"/>
                </a:lnTo>
                <a:lnTo>
                  <a:pt x="295275" y="991037"/>
                </a:lnTo>
                <a:lnTo>
                  <a:pt x="288131" y="975962"/>
                </a:lnTo>
                <a:lnTo>
                  <a:pt x="280194" y="963266"/>
                </a:lnTo>
                <a:lnTo>
                  <a:pt x="270669" y="949777"/>
                </a:lnTo>
                <a:lnTo>
                  <a:pt x="260350" y="937875"/>
                </a:lnTo>
                <a:lnTo>
                  <a:pt x="249237" y="927560"/>
                </a:lnTo>
                <a:lnTo>
                  <a:pt x="237331" y="918039"/>
                </a:lnTo>
                <a:lnTo>
                  <a:pt x="224631" y="910898"/>
                </a:lnTo>
                <a:lnTo>
                  <a:pt x="211137" y="904550"/>
                </a:lnTo>
                <a:lnTo>
                  <a:pt x="196850" y="899789"/>
                </a:lnTo>
                <a:lnTo>
                  <a:pt x="182562" y="897409"/>
                </a:lnTo>
                <a:lnTo>
                  <a:pt x="167481" y="896615"/>
                </a:lnTo>
                <a:lnTo>
                  <a:pt x="153987" y="896615"/>
                </a:lnTo>
                <a:lnTo>
                  <a:pt x="142875" y="898996"/>
                </a:lnTo>
                <a:lnTo>
                  <a:pt x="131762" y="902169"/>
                </a:lnTo>
                <a:lnTo>
                  <a:pt x="121444" y="906137"/>
                </a:lnTo>
                <a:lnTo>
                  <a:pt x="111919" y="910898"/>
                </a:lnTo>
                <a:lnTo>
                  <a:pt x="103187" y="916452"/>
                </a:lnTo>
                <a:lnTo>
                  <a:pt x="96044" y="922800"/>
                </a:lnTo>
                <a:lnTo>
                  <a:pt x="93462" y="924807"/>
                </a:lnTo>
                <a:lnTo>
                  <a:pt x="86518" y="928971"/>
                </a:lnTo>
                <a:lnTo>
                  <a:pt x="80168" y="936108"/>
                </a:lnTo>
                <a:lnTo>
                  <a:pt x="69849" y="946418"/>
                </a:lnTo>
                <a:lnTo>
                  <a:pt x="61118" y="957522"/>
                </a:lnTo>
                <a:lnTo>
                  <a:pt x="55561" y="967039"/>
                </a:lnTo>
                <a:lnTo>
                  <a:pt x="51593" y="974969"/>
                </a:lnTo>
                <a:lnTo>
                  <a:pt x="46036" y="982107"/>
                </a:lnTo>
                <a:lnTo>
                  <a:pt x="41562" y="987323"/>
                </a:lnTo>
                <a:lnTo>
                  <a:pt x="38894" y="988657"/>
                </a:lnTo>
                <a:lnTo>
                  <a:pt x="34131" y="991037"/>
                </a:lnTo>
                <a:lnTo>
                  <a:pt x="28575" y="992624"/>
                </a:lnTo>
                <a:lnTo>
                  <a:pt x="23812" y="992624"/>
                </a:lnTo>
                <a:lnTo>
                  <a:pt x="19050" y="991037"/>
                </a:lnTo>
                <a:lnTo>
                  <a:pt x="14287" y="988657"/>
                </a:lnTo>
                <a:lnTo>
                  <a:pt x="11112" y="985483"/>
                </a:lnTo>
                <a:lnTo>
                  <a:pt x="7144" y="980722"/>
                </a:lnTo>
                <a:lnTo>
                  <a:pt x="3969" y="975168"/>
                </a:lnTo>
                <a:lnTo>
                  <a:pt x="2381" y="968027"/>
                </a:lnTo>
                <a:lnTo>
                  <a:pt x="0" y="959299"/>
                </a:lnTo>
                <a:lnTo>
                  <a:pt x="0" y="951364"/>
                </a:lnTo>
                <a:lnTo>
                  <a:pt x="0" y="314212"/>
                </a:lnTo>
                <a:lnTo>
                  <a:pt x="434181" y="314212"/>
                </a:lnTo>
                <a:lnTo>
                  <a:pt x="434181" y="312625"/>
                </a:lnTo>
                <a:lnTo>
                  <a:pt x="633412" y="312625"/>
                </a:lnTo>
                <a:lnTo>
                  <a:pt x="642937" y="312625"/>
                </a:lnTo>
                <a:lnTo>
                  <a:pt x="652462" y="310244"/>
                </a:lnTo>
                <a:lnTo>
                  <a:pt x="659606" y="307864"/>
                </a:lnTo>
                <a:lnTo>
                  <a:pt x="665956" y="304690"/>
                </a:lnTo>
                <a:lnTo>
                  <a:pt x="671512" y="299929"/>
                </a:lnTo>
                <a:lnTo>
                  <a:pt x="673894" y="292788"/>
                </a:lnTo>
                <a:lnTo>
                  <a:pt x="675481" y="285647"/>
                </a:lnTo>
                <a:lnTo>
                  <a:pt x="673894" y="277712"/>
                </a:lnTo>
                <a:lnTo>
                  <a:pt x="670719" y="270571"/>
                </a:lnTo>
                <a:lnTo>
                  <a:pt x="663575" y="261843"/>
                </a:lnTo>
                <a:lnTo>
                  <a:pt x="654050" y="254702"/>
                </a:lnTo>
                <a:lnTo>
                  <a:pt x="642937" y="249148"/>
                </a:lnTo>
                <a:lnTo>
                  <a:pt x="632619" y="242800"/>
                </a:lnTo>
                <a:lnTo>
                  <a:pt x="623094" y="234865"/>
                </a:lnTo>
                <a:lnTo>
                  <a:pt x="611187" y="223757"/>
                </a:lnTo>
                <a:lnTo>
                  <a:pt x="605631" y="216616"/>
                </a:lnTo>
                <a:lnTo>
                  <a:pt x="599281" y="209475"/>
                </a:lnTo>
                <a:lnTo>
                  <a:pt x="593725" y="201540"/>
                </a:lnTo>
                <a:lnTo>
                  <a:pt x="588962" y="192018"/>
                </a:lnTo>
                <a:lnTo>
                  <a:pt x="584994" y="182497"/>
                </a:lnTo>
                <a:lnTo>
                  <a:pt x="581819" y="170595"/>
                </a:lnTo>
                <a:lnTo>
                  <a:pt x="580231" y="158693"/>
                </a:lnTo>
                <a:lnTo>
                  <a:pt x="579437" y="145997"/>
                </a:lnTo>
                <a:lnTo>
                  <a:pt x="580231" y="131715"/>
                </a:lnTo>
                <a:lnTo>
                  <a:pt x="582612" y="115846"/>
                </a:lnTo>
                <a:lnTo>
                  <a:pt x="587375" y="101563"/>
                </a:lnTo>
                <a:lnTo>
                  <a:pt x="593725" y="88868"/>
                </a:lnTo>
                <a:lnTo>
                  <a:pt x="600869" y="75379"/>
                </a:lnTo>
                <a:lnTo>
                  <a:pt x="609600" y="64271"/>
                </a:lnTo>
                <a:lnTo>
                  <a:pt x="620712" y="53162"/>
                </a:lnTo>
                <a:lnTo>
                  <a:pt x="632619" y="42847"/>
                </a:lnTo>
                <a:lnTo>
                  <a:pt x="645319" y="33326"/>
                </a:lnTo>
                <a:lnTo>
                  <a:pt x="659606" y="24598"/>
                </a:lnTo>
                <a:lnTo>
                  <a:pt x="673894" y="17456"/>
                </a:lnTo>
                <a:lnTo>
                  <a:pt x="690562" y="11902"/>
                </a:lnTo>
                <a:lnTo>
                  <a:pt x="707231" y="5554"/>
                </a:lnTo>
                <a:lnTo>
                  <a:pt x="723900" y="2381"/>
                </a:lnTo>
                <a:lnTo>
                  <a:pt x="742950" y="794"/>
                </a:lnTo>
                <a:lnTo>
                  <a:pt x="760412" y="0"/>
                </a:lnTo>
                <a:lnTo>
                  <a:pt x="779462" y="794"/>
                </a:lnTo>
                <a:lnTo>
                  <a:pt x="797719" y="2381"/>
                </a:lnTo>
                <a:lnTo>
                  <a:pt x="809516" y="4525"/>
                </a:lnTo>
                <a:lnTo>
                  <a:pt x="821531" y="9104"/>
                </a:lnTo>
                <a:lnTo>
                  <a:pt x="836612" y="14663"/>
                </a:lnTo>
                <a:lnTo>
                  <a:pt x="852487" y="21811"/>
                </a:lnTo>
                <a:lnTo>
                  <a:pt x="866775" y="30547"/>
                </a:lnTo>
                <a:lnTo>
                  <a:pt x="879475" y="40076"/>
                </a:lnTo>
                <a:lnTo>
                  <a:pt x="891381" y="50400"/>
                </a:lnTo>
                <a:lnTo>
                  <a:pt x="900906" y="61518"/>
                </a:lnTo>
                <a:lnTo>
                  <a:pt x="910431" y="72637"/>
                </a:lnTo>
                <a:lnTo>
                  <a:pt x="919162" y="86137"/>
                </a:lnTo>
                <a:lnTo>
                  <a:pt x="924718" y="98844"/>
                </a:lnTo>
                <a:lnTo>
                  <a:pt x="929481" y="113138"/>
                </a:lnTo>
                <a:lnTo>
                  <a:pt x="931862" y="127433"/>
                </a:lnTo>
                <a:lnTo>
                  <a:pt x="933450" y="143316"/>
                </a:lnTo>
                <a:lnTo>
                  <a:pt x="931862" y="156022"/>
                </a:lnTo>
                <a:lnTo>
                  <a:pt x="929481" y="167935"/>
                </a:lnTo>
                <a:lnTo>
                  <a:pt x="927100" y="179847"/>
                </a:lnTo>
                <a:lnTo>
                  <a:pt x="922337" y="189377"/>
                </a:lnTo>
                <a:lnTo>
                  <a:pt x="917575" y="198907"/>
                </a:lnTo>
                <a:lnTo>
                  <a:pt x="912812" y="206848"/>
                </a:lnTo>
                <a:lnTo>
                  <a:pt x="907256" y="213995"/>
                </a:lnTo>
                <a:lnTo>
                  <a:pt x="900906" y="221143"/>
                </a:lnTo>
                <a:lnTo>
                  <a:pt x="889000" y="232261"/>
                </a:lnTo>
                <a:lnTo>
                  <a:pt x="878681" y="240202"/>
                </a:lnTo>
                <a:lnTo>
                  <a:pt x="869156" y="246556"/>
                </a:lnTo>
                <a:lnTo>
                  <a:pt x="857250" y="252115"/>
                </a:lnTo>
                <a:lnTo>
                  <a:pt x="848518" y="259262"/>
                </a:lnTo>
                <a:lnTo>
                  <a:pt x="841375" y="267998"/>
                </a:lnTo>
                <a:lnTo>
                  <a:pt x="838200" y="275145"/>
                </a:lnTo>
                <a:lnTo>
                  <a:pt x="835818" y="283087"/>
                </a:lnTo>
                <a:lnTo>
                  <a:pt x="836612" y="290234"/>
                </a:lnTo>
                <a:lnTo>
                  <a:pt x="840581" y="296587"/>
                </a:lnTo>
                <a:lnTo>
                  <a:pt x="846137" y="302146"/>
                </a:lnTo>
                <a:lnTo>
                  <a:pt x="853488" y="302146"/>
                </a:lnTo>
                <a:lnTo>
                  <a:pt x="856456" y="304690"/>
                </a:lnTo>
                <a:lnTo>
                  <a:pt x="862806" y="307864"/>
                </a:lnTo>
                <a:lnTo>
                  <a:pt x="869950" y="310244"/>
                </a:lnTo>
                <a:lnTo>
                  <a:pt x="879475" y="312625"/>
                </a:lnTo>
                <a:lnTo>
                  <a:pt x="889000" y="312625"/>
                </a:lnTo>
                <a:lnTo>
                  <a:pt x="1208087" y="312626"/>
                </a:lnTo>
                <a:lnTo>
                  <a:pt x="1208087" y="314213"/>
                </a:lnTo>
                <a:lnTo>
                  <a:pt x="1565417" y="314213"/>
                </a:lnTo>
                <a:lnTo>
                  <a:pt x="1567788" y="994249"/>
                </a:lnTo>
                <a:lnTo>
                  <a:pt x="1566200" y="1002183"/>
                </a:lnTo>
                <a:lnTo>
                  <a:pt x="1565406" y="1010910"/>
                </a:lnTo>
                <a:lnTo>
                  <a:pt x="1563024" y="1018051"/>
                </a:lnTo>
                <a:lnTo>
                  <a:pt x="1560642" y="1022812"/>
                </a:lnTo>
                <a:lnTo>
                  <a:pt x="1556671" y="1027572"/>
                </a:lnTo>
                <a:lnTo>
                  <a:pt x="1551907" y="1030746"/>
                </a:lnTo>
                <a:lnTo>
                  <a:pt x="1548730" y="1033126"/>
                </a:lnTo>
                <a:lnTo>
                  <a:pt x="1543966" y="1034713"/>
                </a:lnTo>
                <a:lnTo>
                  <a:pt x="1537613" y="1034713"/>
                </a:lnTo>
                <a:lnTo>
                  <a:pt x="1532849" y="1033126"/>
                </a:lnTo>
                <a:lnTo>
                  <a:pt x="1528226" y="1031146"/>
                </a:lnTo>
                <a:lnTo>
                  <a:pt x="1524000" y="1028330"/>
                </a:lnTo>
                <a:lnTo>
                  <a:pt x="1519264" y="1024778"/>
                </a:lnTo>
                <a:lnTo>
                  <a:pt x="1517289" y="1023087"/>
                </a:lnTo>
                <a:lnTo>
                  <a:pt x="1512887" y="1017222"/>
                </a:lnTo>
                <a:lnTo>
                  <a:pt x="1512079" y="1016278"/>
                </a:lnTo>
                <a:lnTo>
                  <a:pt x="1507438" y="1009324"/>
                </a:lnTo>
                <a:lnTo>
                  <a:pt x="1503467" y="1001389"/>
                </a:lnTo>
                <a:lnTo>
                  <a:pt x="1497909" y="991868"/>
                </a:lnTo>
                <a:lnTo>
                  <a:pt x="1489174" y="980761"/>
                </a:lnTo>
                <a:lnTo>
                  <a:pt x="1478851" y="969653"/>
                </a:lnTo>
                <a:lnTo>
                  <a:pt x="1471704" y="963306"/>
                </a:lnTo>
                <a:lnTo>
                  <a:pt x="1464557" y="958545"/>
                </a:lnTo>
                <a:lnTo>
                  <a:pt x="1460480" y="955952"/>
                </a:lnTo>
                <a:lnTo>
                  <a:pt x="1457325" y="953745"/>
                </a:lnTo>
                <a:lnTo>
                  <a:pt x="1455842" y="953003"/>
                </a:lnTo>
                <a:lnTo>
                  <a:pt x="1455822" y="952991"/>
                </a:lnTo>
                <a:lnTo>
                  <a:pt x="1446293" y="948231"/>
                </a:lnTo>
                <a:lnTo>
                  <a:pt x="1436764" y="944264"/>
                </a:lnTo>
                <a:lnTo>
                  <a:pt x="1424853" y="941090"/>
                </a:lnTo>
                <a:lnTo>
                  <a:pt x="1412942" y="938710"/>
                </a:lnTo>
                <a:lnTo>
                  <a:pt x="1400236" y="938710"/>
                </a:lnTo>
                <a:lnTo>
                  <a:pt x="1385149" y="938710"/>
                </a:lnTo>
                <a:lnTo>
                  <a:pt x="1370855" y="941883"/>
                </a:lnTo>
                <a:lnTo>
                  <a:pt x="1356562" y="946644"/>
                </a:lnTo>
                <a:lnTo>
                  <a:pt x="1343062" y="952991"/>
                </a:lnTo>
                <a:lnTo>
                  <a:pt x="1330357" y="960132"/>
                </a:lnTo>
                <a:lnTo>
                  <a:pt x="1318446" y="969653"/>
                </a:lnTo>
                <a:lnTo>
                  <a:pt x="1307328" y="979967"/>
                </a:lnTo>
                <a:lnTo>
                  <a:pt x="1297005" y="991868"/>
                </a:lnTo>
                <a:lnTo>
                  <a:pt x="1287476" y="1003770"/>
                </a:lnTo>
                <a:lnTo>
                  <a:pt x="1279536" y="1018051"/>
                </a:lnTo>
                <a:lnTo>
                  <a:pt x="1272389" y="1033126"/>
                </a:lnTo>
                <a:lnTo>
                  <a:pt x="1265242" y="1048994"/>
                </a:lnTo>
                <a:lnTo>
                  <a:pt x="1260477" y="1065656"/>
                </a:lnTo>
                <a:lnTo>
                  <a:pt x="1256507" y="1083111"/>
                </a:lnTo>
                <a:lnTo>
                  <a:pt x="1254125" y="1100567"/>
                </a:lnTo>
                <a:lnTo>
                  <a:pt x="1254125" y="1119609"/>
                </a:lnTo>
                <a:lnTo>
                  <a:pt x="1254125" y="1120372"/>
                </a:lnTo>
                <a:lnTo>
                  <a:pt x="1254125" y="1138650"/>
                </a:lnTo>
                <a:lnTo>
                  <a:pt x="1256507" y="1156899"/>
                </a:lnTo>
                <a:lnTo>
                  <a:pt x="1260477" y="1174354"/>
                </a:lnTo>
                <a:lnTo>
                  <a:pt x="1265242" y="1191016"/>
                </a:lnTo>
                <a:lnTo>
                  <a:pt x="1269415" y="1199816"/>
                </a:lnTo>
                <a:lnTo>
                  <a:pt x="1272381" y="1206860"/>
                </a:lnTo>
                <a:lnTo>
                  <a:pt x="1275940" y="1213973"/>
                </a:lnTo>
                <a:lnTo>
                  <a:pt x="1279536" y="1221959"/>
                </a:lnTo>
                <a:lnTo>
                  <a:pt x="1287476" y="1236241"/>
                </a:lnTo>
                <a:lnTo>
                  <a:pt x="1297005" y="1248935"/>
                </a:lnTo>
                <a:lnTo>
                  <a:pt x="1301770" y="1254062"/>
                </a:lnTo>
                <a:lnTo>
                  <a:pt x="1307306" y="1261609"/>
                </a:lnTo>
                <a:lnTo>
                  <a:pt x="1319212" y="1272717"/>
                </a:lnTo>
                <a:lnTo>
                  <a:pt x="1331119" y="1280652"/>
                </a:lnTo>
                <a:lnTo>
                  <a:pt x="1344612" y="1289380"/>
                </a:lnTo>
                <a:lnTo>
                  <a:pt x="1357312" y="1294934"/>
                </a:lnTo>
                <a:lnTo>
                  <a:pt x="1371600" y="1299695"/>
                </a:lnTo>
                <a:lnTo>
                  <a:pt x="1385887" y="1302075"/>
                </a:lnTo>
                <a:lnTo>
                  <a:pt x="1401762" y="1303662"/>
                </a:lnTo>
                <a:lnTo>
                  <a:pt x="1414462" y="1302075"/>
                </a:lnTo>
                <a:lnTo>
                  <a:pt x="1426369" y="1299695"/>
                </a:lnTo>
                <a:lnTo>
                  <a:pt x="1436687" y="1297314"/>
                </a:lnTo>
                <a:lnTo>
                  <a:pt x="1447800" y="1292554"/>
                </a:lnTo>
                <a:lnTo>
                  <a:pt x="1457325" y="1287793"/>
                </a:lnTo>
                <a:lnTo>
                  <a:pt x="1465262" y="1283032"/>
                </a:lnTo>
                <a:lnTo>
                  <a:pt x="1472406" y="1277478"/>
                </a:lnTo>
                <a:lnTo>
                  <a:pt x="1479550" y="1271130"/>
                </a:lnTo>
                <a:lnTo>
                  <a:pt x="1490662" y="1259228"/>
                </a:lnTo>
                <a:lnTo>
                  <a:pt x="1497806" y="1248913"/>
                </a:lnTo>
                <a:lnTo>
                  <a:pt x="1503362" y="1239392"/>
                </a:lnTo>
                <a:lnTo>
                  <a:pt x="1508125" y="1230663"/>
                </a:lnTo>
                <a:lnTo>
                  <a:pt x="1512887" y="1223522"/>
                </a:lnTo>
                <a:lnTo>
                  <a:pt x="1517650" y="1217968"/>
                </a:lnTo>
                <a:lnTo>
                  <a:pt x="1524000" y="1213207"/>
                </a:lnTo>
                <a:lnTo>
                  <a:pt x="1528762" y="1209240"/>
                </a:lnTo>
                <a:lnTo>
                  <a:pt x="1534319" y="1208446"/>
                </a:lnTo>
                <a:lnTo>
                  <a:pt x="1539081" y="1206860"/>
                </a:lnTo>
                <a:lnTo>
                  <a:pt x="1544637" y="1206860"/>
                </a:lnTo>
                <a:lnTo>
                  <a:pt x="1549400" y="1208446"/>
                </a:lnTo>
                <a:lnTo>
                  <a:pt x="1554162" y="1210827"/>
                </a:lnTo>
                <a:lnTo>
                  <a:pt x="1557662" y="1213625"/>
                </a:lnTo>
                <a:lnTo>
                  <a:pt x="1558755" y="1214936"/>
                </a:lnTo>
                <a:lnTo>
                  <a:pt x="1561306" y="1218762"/>
                </a:lnTo>
                <a:lnTo>
                  <a:pt x="1563687" y="1223522"/>
                </a:lnTo>
                <a:lnTo>
                  <a:pt x="1566069" y="1230663"/>
                </a:lnTo>
                <a:lnTo>
                  <a:pt x="1567656" y="1239392"/>
                </a:lnTo>
                <a:lnTo>
                  <a:pt x="1567788" y="1240974"/>
                </a:lnTo>
                <a:lnTo>
                  <a:pt x="1567788" y="1248142"/>
                </a:lnTo>
                <a:lnTo>
                  <a:pt x="1567788" y="1883668"/>
                </a:lnTo>
                <a:lnTo>
                  <a:pt x="1568450" y="1883668"/>
                </a:lnTo>
                <a:close/>
              </a:path>
            </a:pathLst>
          </a:custGeom>
          <a:ln>
            <a:solidFill>
              <a:schemeClr val="tx1">
                <a:lumMod val="50000"/>
                <a:lumOff val="50000"/>
              </a:schemeClr>
            </a:solidFill>
          </a:ln>
        </p:spPr>
      </p:pic>
      <p:pic>
        <p:nvPicPr>
          <p:cNvPr id="8" name="Picture 7">
            <a:extLst>
              <a:ext uri="{FF2B5EF4-FFF2-40B4-BE49-F238E27FC236}">
                <a16:creationId xmlns:a16="http://schemas.microsoft.com/office/drawing/2014/main" id="{67AA08C2-179C-448B-B39A-D7B31199F195}"/>
              </a:ext>
            </a:extLst>
          </p:cNvPr>
          <p:cNvPicPr>
            <a:picLocks noChangeAspect="1"/>
          </p:cNvPicPr>
          <p:nvPr/>
        </p:nvPicPr>
        <p:blipFill rotWithShape="1">
          <a:blip r:embed="rId2"/>
          <a:srcRect l="37966" t="50000" r="32947" b="20214"/>
          <a:stretch/>
        </p:blipFill>
        <p:spPr>
          <a:xfrm rot="1971481">
            <a:off x="10433917" y="2022181"/>
            <a:ext cx="1456941" cy="2337442"/>
          </a:xfrm>
          <a:custGeom>
            <a:avLst/>
            <a:gdLst>
              <a:gd name="connsiteX0" fmla="*/ 1568450 w 1568450"/>
              <a:gd name="connsiteY0" fmla="*/ 10886 h 1896949"/>
              <a:gd name="connsiteX1" fmla="*/ 1568450 w 1568450"/>
              <a:gd name="connsiteY1" fmla="*/ 13167 h 1896949"/>
              <a:gd name="connsiteX2" fmla="*/ 1562924 w 1568450"/>
              <a:gd name="connsiteY2" fmla="*/ 13167 h 1896949"/>
              <a:gd name="connsiteX3" fmla="*/ 1565306 w 1568450"/>
              <a:gd name="connsiteY3" fmla="*/ 696298 h 1896949"/>
              <a:gd name="connsiteX4" fmla="*/ 1563718 w 1568450"/>
              <a:gd name="connsiteY4" fmla="*/ 704232 h 1896949"/>
              <a:gd name="connsiteX5" fmla="*/ 1562924 w 1568450"/>
              <a:gd name="connsiteY5" fmla="*/ 712960 h 1896949"/>
              <a:gd name="connsiteX6" fmla="*/ 1560542 w 1568450"/>
              <a:gd name="connsiteY6" fmla="*/ 720100 h 1896949"/>
              <a:gd name="connsiteX7" fmla="*/ 1558160 w 1568450"/>
              <a:gd name="connsiteY7" fmla="*/ 724861 h 1896949"/>
              <a:gd name="connsiteX8" fmla="*/ 1557863 w 1568450"/>
              <a:gd name="connsiteY8" fmla="*/ 725218 h 1896949"/>
              <a:gd name="connsiteX9" fmla="*/ 1554162 w 1568450"/>
              <a:gd name="connsiteY9" fmla="*/ 728177 h 1896949"/>
              <a:gd name="connsiteX10" fmla="*/ 1549400 w 1568450"/>
              <a:gd name="connsiteY10" fmla="*/ 730557 h 1896949"/>
              <a:gd name="connsiteX11" fmla="*/ 1544637 w 1568450"/>
              <a:gd name="connsiteY11" fmla="*/ 732144 h 1896949"/>
              <a:gd name="connsiteX12" fmla="*/ 1539081 w 1568450"/>
              <a:gd name="connsiteY12" fmla="*/ 732144 h 1896949"/>
              <a:gd name="connsiteX13" fmla="*/ 1534319 w 1568450"/>
              <a:gd name="connsiteY13" fmla="*/ 730557 h 1896949"/>
              <a:gd name="connsiteX14" fmla="*/ 1528762 w 1568450"/>
              <a:gd name="connsiteY14" fmla="*/ 728177 h 1896949"/>
              <a:gd name="connsiteX15" fmla="*/ 1524000 w 1568450"/>
              <a:gd name="connsiteY15" fmla="*/ 725003 h 1896949"/>
              <a:gd name="connsiteX16" fmla="*/ 1517650 w 1568450"/>
              <a:gd name="connsiteY16" fmla="*/ 720242 h 1896949"/>
              <a:gd name="connsiteX17" fmla="*/ 1512887 w 1568450"/>
              <a:gd name="connsiteY17" fmla="*/ 713895 h 1896949"/>
              <a:gd name="connsiteX18" fmla="*/ 1508125 w 1568450"/>
              <a:gd name="connsiteY18" fmla="*/ 708341 h 1896949"/>
              <a:gd name="connsiteX19" fmla="*/ 1503362 w 1568450"/>
              <a:gd name="connsiteY19" fmla="*/ 699612 h 1896949"/>
              <a:gd name="connsiteX20" fmla="*/ 1497806 w 1568450"/>
              <a:gd name="connsiteY20" fmla="*/ 689297 h 1896949"/>
              <a:gd name="connsiteX21" fmla="*/ 1490662 w 1568450"/>
              <a:gd name="connsiteY21" fmla="*/ 679776 h 1896949"/>
              <a:gd name="connsiteX22" fmla="*/ 1479550 w 1568450"/>
              <a:gd name="connsiteY22" fmla="*/ 667874 h 1896949"/>
              <a:gd name="connsiteX23" fmla="*/ 1472406 w 1568450"/>
              <a:gd name="connsiteY23" fmla="*/ 662320 h 1896949"/>
              <a:gd name="connsiteX24" fmla="*/ 1465262 w 1568450"/>
              <a:gd name="connsiteY24" fmla="*/ 655972 h 1896949"/>
              <a:gd name="connsiteX25" fmla="*/ 1457325 w 1568450"/>
              <a:gd name="connsiteY25" fmla="*/ 650418 h 1896949"/>
              <a:gd name="connsiteX26" fmla="*/ 1447800 w 1568450"/>
              <a:gd name="connsiteY26" fmla="*/ 645657 h 1896949"/>
              <a:gd name="connsiteX27" fmla="*/ 1436687 w 1568450"/>
              <a:gd name="connsiteY27" fmla="*/ 641690 h 1896949"/>
              <a:gd name="connsiteX28" fmla="*/ 1426369 w 1568450"/>
              <a:gd name="connsiteY28" fmla="*/ 638516 h 1896949"/>
              <a:gd name="connsiteX29" fmla="*/ 1414462 w 1568450"/>
              <a:gd name="connsiteY29" fmla="*/ 636135 h 1896949"/>
              <a:gd name="connsiteX30" fmla="*/ 1401762 w 1568450"/>
              <a:gd name="connsiteY30" fmla="*/ 636135 h 1896949"/>
              <a:gd name="connsiteX31" fmla="*/ 1385887 w 1568450"/>
              <a:gd name="connsiteY31" fmla="*/ 636929 h 1896949"/>
              <a:gd name="connsiteX32" fmla="*/ 1371600 w 1568450"/>
              <a:gd name="connsiteY32" fmla="*/ 639309 h 1896949"/>
              <a:gd name="connsiteX33" fmla="*/ 1357312 w 1568450"/>
              <a:gd name="connsiteY33" fmla="*/ 644070 h 1896949"/>
              <a:gd name="connsiteX34" fmla="*/ 1344612 w 1568450"/>
              <a:gd name="connsiteY34" fmla="*/ 650418 h 1896949"/>
              <a:gd name="connsiteX35" fmla="*/ 1331119 w 1568450"/>
              <a:gd name="connsiteY35" fmla="*/ 657559 h 1896949"/>
              <a:gd name="connsiteX36" fmla="*/ 1319212 w 1568450"/>
              <a:gd name="connsiteY36" fmla="*/ 667080 h 1896949"/>
              <a:gd name="connsiteX37" fmla="*/ 1307306 w 1568450"/>
              <a:gd name="connsiteY37" fmla="*/ 677395 h 1896949"/>
              <a:gd name="connsiteX38" fmla="*/ 1298817 w 1568450"/>
              <a:gd name="connsiteY38" fmla="*/ 688967 h 1896949"/>
              <a:gd name="connsiteX39" fmla="*/ 1294523 w 1568450"/>
              <a:gd name="connsiteY39" fmla="*/ 693918 h 1896949"/>
              <a:gd name="connsiteX40" fmla="*/ 1284994 w 1568450"/>
              <a:gd name="connsiteY40" fmla="*/ 705819 h 1896949"/>
              <a:gd name="connsiteX41" fmla="*/ 1277054 w 1568450"/>
              <a:gd name="connsiteY41" fmla="*/ 720100 h 1896949"/>
              <a:gd name="connsiteX42" fmla="*/ 1269907 w 1568450"/>
              <a:gd name="connsiteY42" fmla="*/ 735175 h 1896949"/>
              <a:gd name="connsiteX43" fmla="*/ 1262760 w 1568450"/>
              <a:gd name="connsiteY43" fmla="*/ 751043 h 1896949"/>
              <a:gd name="connsiteX44" fmla="*/ 1257995 w 1568450"/>
              <a:gd name="connsiteY44" fmla="*/ 767705 h 1896949"/>
              <a:gd name="connsiteX45" fmla="*/ 1254025 w 1568450"/>
              <a:gd name="connsiteY45" fmla="*/ 785160 h 1896949"/>
              <a:gd name="connsiteX46" fmla="*/ 1251643 w 1568450"/>
              <a:gd name="connsiteY46" fmla="*/ 802616 h 1896949"/>
              <a:gd name="connsiteX47" fmla="*/ 1251643 w 1568450"/>
              <a:gd name="connsiteY47" fmla="*/ 821658 h 1896949"/>
              <a:gd name="connsiteX48" fmla="*/ 1251643 w 1568450"/>
              <a:gd name="connsiteY48" fmla="*/ 840699 h 1896949"/>
              <a:gd name="connsiteX49" fmla="*/ 1254025 w 1568450"/>
              <a:gd name="connsiteY49" fmla="*/ 858948 h 1896949"/>
              <a:gd name="connsiteX50" fmla="*/ 1257995 w 1568450"/>
              <a:gd name="connsiteY50" fmla="*/ 876403 h 1896949"/>
              <a:gd name="connsiteX51" fmla="*/ 1262760 w 1568450"/>
              <a:gd name="connsiteY51" fmla="*/ 893065 h 1896949"/>
              <a:gd name="connsiteX52" fmla="*/ 1269907 w 1568450"/>
              <a:gd name="connsiteY52" fmla="*/ 908140 h 1896949"/>
              <a:gd name="connsiteX53" fmla="*/ 1277054 w 1568450"/>
              <a:gd name="connsiteY53" fmla="*/ 924008 h 1896949"/>
              <a:gd name="connsiteX54" fmla="*/ 1284994 w 1568450"/>
              <a:gd name="connsiteY54" fmla="*/ 938290 h 1896949"/>
              <a:gd name="connsiteX55" fmla="*/ 1294523 w 1568450"/>
              <a:gd name="connsiteY55" fmla="*/ 950984 h 1896949"/>
              <a:gd name="connsiteX56" fmla="*/ 1304846 w 1568450"/>
              <a:gd name="connsiteY56" fmla="*/ 962092 h 1896949"/>
              <a:gd name="connsiteX57" fmla="*/ 1315964 w 1568450"/>
              <a:gd name="connsiteY57" fmla="*/ 972407 h 1896949"/>
              <a:gd name="connsiteX58" fmla="*/ 1327875 w 1568450"/>
              <a:gd name="connsiteY58" fmla="*/ 981928 h 1896949"/>
              <a:gd name="connsiteX59" fmla="*/ 1340580 w 1568450"/>
              <a:gd name="connsiteY59" fmla="*/ 989068 h 1896949"/>
              <a:gd name="connsiteX60" fmla="*/ 1354080 w 1568450"/>
              <a:gd name="connsiteY60" fmla="*/ 996209 h 1896949"/>
              <a:gd name="connsiteX61" fmla="*/ 1368373 w 1568450"/>
              <a:gd name="connsiteY61" fmla="*/ 1000176 h 1896949"/>
              <a:gd name="connsiteX62" fmla="*/ 1382667 w 1568450"/>
              <a:gd name="connsiteY62" fmla="*/ 1003350 h 1896949"/>
              <a:gd name="connsiteX63" fmla="*/ 1397754 w 1568450"/>
              <a:gd name="connsiteY63" fmla="*/ 1004937 h 1896949"/>
              <a:gd name="connsiteX64" fmla="*/ 1410460 w 1568450"/>
              <a:gd name="connsiteY64" fmla="*/ 1003350 h 1896949"/>
              <a:gd name="connsiteX65" fmla="*/ 1422371 w 1568450"/>
              <a:gd name="connsiteY65" fmla="*/ 1000970 h 1896949"/>
              <a:gd name="connsiteX66" fmla="*/ 1434282 w 1568450"/>
              <a:gd name="connsiteY66" fmla="*/ 998589 h 1896949"/>
              <a:gd name="connsiteX67" fmla="*/ 1443811 w 1568450"/>
              <a:gd name="connsiteY67" fmla="*/ 993829 h 1896949"/>
              <a:gd name="connsiteX68" fmla="*/ 1453340 w 1568450"/>
              <a:gd name="connsiteY68" fmla="*/ 989068 h 1896949"/>
              <a:gd name="connsiteX69" fmla="*/ 1462075 w 1568450"/>
              <a:gd name="connsiteY69" fmla="*/ 984308 h 1896949"/>
              <a:gd name="connsiteX70" fmla="*/ 1469222 w 1568450"/>
              <a:gd name="connsiteY70" fmla="*/ 978754 h 1896949"/>
              <a:gd name="connsiteX71" fmla="*/ 1476369 w 1568450"/>
              <a:gd name="connsiteY71" fmla="*/ 972407 h 1896949"/>
              <a:gd name="connsiteX72" fmla="*/ 1486692 w 1568450"/>
              <a:gd name="connsiteY72" fmla="*/ 960505 h 1896949"/>
              <a:gd name="connsiteX73" fmla="*/ 1489900 w 1568450"/>
              <a:gd name="connsiteY73" fmla="*/ 956718 h 1896949"/>
              <a:gd name="connsiteX74" fmla="*/ 1490662 w 1568450"/>
              <a:gd name="connsiteY74" fmla="*/ 955901 h 1896949"/>
              <a:gd name="connsiteX75" fmla="*/ 1490980 w 1568450"/>
              <a:gd name="connsiteY75" fmla="*/ 955442 h 1896949"/>
              <a:gd name="connsiteX76" fmla="*/ 1495427 w 1568450"/>
              <a:gd name="connsiteY76" fmla="*/ 950191 h 1896949"/>
              <a:gd name="connsiteX77" fmla="*/ 1500985 w 1568450"/>
              <a:gd name="connsiteY77" fmla="*/ 940670 h 1896949"/>
              <a:gd name="connsiteX78" fmla="*/ 1502083 w 1568450"/>
              <a:gd name="connsiteY78" fmla="*/ 938257 h 1896949"/>
              <a:gd name="connsiteX79" fmla="*/ 1503362 w 1568450"/>
              <a:gd name="connsiteY79" fmla="*/ 936065 h 1896949"/>
              <a:gd name="connsiteX80" fmla="*/ 1508125 w 1568450"/>
              <a:gd name="connsiteY80" fmla="*/ 927336 h 1896949"/>
              <a:gd name="connsiteX81" fmla="*/ 1510004 w 1568450"/>
              <a:gd name="connsiteY81" fmla="*/ 924518 h 1896949"/>
              <a:gd name="connsiteX82" fmla="*/ 1515279 w 1568450"/>
              <a:gd name="connsiteY82" fmla="*/ 919248 h 1896949"/>
              <a:gd name="connsiteX83" fmla="*/ 1520043 w 1568450"/>
              <a:gd name="connsiteY83" fmla="*/ 914487 h 1896949"/>
              <a:gd name="connsiteX84" fmla="*/ 1525602 w 1568450"/>
              <a:gd name="connsiteY84" fmla="*/ 910520 h 1896949"/>
              <a:gd name="connsiteX85" fmla="*/ 1530367 w 1568450"/>
              <a:gd name="connsiteY85" fmla="*/ 908140 h 1896949"/>
              <a:gd name="connsiteX86" fmla="*/ 1536719 w 1568450"/>
              <a:gd name="connsiteY86" fmla="*/ 907346 h 1896949"/>
              <a:gd name="connsiteX87" fmla="*/ 1541484 w 1568450"/>
              <a:gd name="connsiteY87" fmla="*/ 907346 h 1896949"/>
              <a:gd name="connsiteX88" fmla="*/ 1546248 w 1568450"/>
              <a:gd name="connsiteY88" fmla="*/ 908140 h 1896949"/>
              <a:gd name="connsiteX89" fmla="*/ 1551013 w 1568450"/>
              <a:gd name="connsiteY89" fmla="*/ 910520 h 1896949"/>
              <a:gd name="connsiteX90" fmla="*/ 1554189 w 1568450"/>
              <a:gd name="connsiteY90" fmla="*/ 914487 h 1896949"/>
              <a:gd name="connsiteX91" fmla="*/ 1558160 w 1568450"/>
              <a:gd name="connsiteY91" fmla="*/ 919248 h 1896949"/>
              <a:gd name="connsiteX92" fmla="*/ 1561336 w 1568450"/>
              <a:gd name="connsiteY92" fmla="*/ 924802 h 1896949"/>
              <a:gd name="connsiteX93" fmla="*/ 1563718 w 1568450"/>
              <a:gd name="connsiteY93" fmla="*/ 931942 h 1896949"/>
              <a:gd name="connsiteX94" fmla="*/ 1565306 w 1568450"/>
              <a:gd name="connsiteY94" fmla="*/ 940670 h 1896949"/>
              <a:gd name="connsiteX95" fmla="*/ 1565306 w 1568450"/>
              <a:gd name="connsiteY95" fmla="*/ 950191 h 1896949"/>
              <a:gd name="connsiteX96" fmla="*/ 1565306 w 1568450"/>
              <a:gd name="connsiteY96" fmla="*/ 1581151 h 1896949"/>
              <a:gd name="connsiteX97" fmla="*/ 1134269 w 1568450"/>
              <a:gd name="connsiteY97" fmla="*/ 1581151 h 1896949"/>
              <a:gd name="connsiteX98" fmla="*/ 1134269 w 1568450"/>
              <a:gd name="connsiteY98" fmla="*/ 1581944 h 1896949"/>
              <a:gd name="connsiteX99" fmla="*/ 935037 w 1568450"/>
              <a:gd name="connsiteY99" fmla="*/ 1581944 h 1896949"/>
              <a:gd name="connsiteX100" fmla="*/ 925512 w 1568450"/>
              <a:gd name="connsiteY100" fmla="*/ 1583531 h 1896949"/>
              <a:gd name="connsiteX101" fmla="*/ 915987 w 1568450"/>
              <a:gd name="connsiteY101" fmla="*/ 1584324 h 1896949"/>
              <a:gd name="connsiteX102" fmla="*/ 908844 w 1568450"/>
              <a:gd name="connsiteY102" fmla="*/ 1586705 h 1896949"/>
              <a:gd name="connsiteX103" fmla="*/ 903287 w 1568450"/>
              <a:gd name="connsiteY103" fmla="*/ 1590672 h 1896949"/>
              <a:gd name="connsiteX104" fmla="*/ 896937 w 1568450"/>
              <a:gd name="connsiteY104" fmla="*/ 1596226 h 1896949"/>
              <a:gd name="connsiteX105" fmla="*/ 893762 w 1568450"/>
              <a:gd name="connsiteY105" fmla="*/ 1603368 h 1896949"/>
              <a:gd name="connsiteX106" fmla="*/ 893762 w 1568450"/>
              <a:gd name="connsiteY106" fmla="*/ 1604151 h 1896949"/>
              <a:gd name="connsiteX107" fmla="*/ 890209 w 1568450"/>
              <a:gd name="connsiteY107" fmla="*/ 1606819 h 1896949"/>
              <a:gd name="connsiteX108" fmla="*/ 887035 w 1568450"/>
              <a:gd name="connsiteY108" fmla="*/ 1613967 h 1896949"/>
              <a:gd name="connsiteX109" fmla="*/ 887035 w 1568450"/>
              <a:gd name="connsiteY109" fmla="*/ 1621114 h 1896949"/>
              <a:gd name="connsiteX110" fmla="*/ 887829 w 1568450"/>
              <a:gd name="connsiteY110" fmla="*/ 1628261 h 1896949"/>
              <a:gd name="connsiteX111" fmla="*/ 891796 w 1568450"/>
              <a:gd name="connsiteY111" fmla="*/ 1636203 h 1896949"/>
              <a:gd name="connsiteX112" fmla="*/ 898936 w 1568450"/>
              <a:gd name="connsiteY112" fmla="*/ 1644938 h 1896949"/>
              <a:gd name="connsiteX113" fmla="*/ 906871 w 1568450"/>
              <a:gd name="connsiteY113" fmla="*/ 1652086 h 1896949"/>
              <a:gd name="connsiteX114" fmla="*/ 918772 w 1568450"/>
              <a:gd name="connsiteY114" fmla="*/ 1657645 h 1896949"/>
              <a:gd name="connsiteX115" fmla="*/ 928293 w 1568450"/>
              <a:gd name="connsiteY115" fmla="*/ 1663998 h 1896949"/>
              <a:gd name="connsiteX116" fmla="*/ 939401 w 1568450"/>
              <a:gd name="connsiteY116" fmla="*/ 1671940 h 1896949"/>
              <a:gd name="connsiteX117" fmla="*/ 950508 w 1568450"/>
              <a:gd name="connsiteY117" fmla="*/ 1683058 h 1896949"/>
              <a:gd name="connsiteX118" fmla="*/ 956856 w 1568450"/>
              <a:gd name="connsiteY118" fmla="*/ 1688617 h 1896949"/>
              <a:gd name="connsiteX119" fmla="*/ 962410 w 1568450"/>
              <a:gd name="connsiteY119" fmla="*/ 1697352 h 1896949"/>
              <a:gd name="connsiteX120" fmla="*/ 967170 w 1568450"/>
              <a:gd name="connsiteY120" fmla="*/ 1705294 h 1896949"/>
              <a:gd name="connsiteX121" fmla="*/ 971931 w 1568450"/>
              <a:gd name="connsiteY121" fmla="*/ 1714824 h 1896949"/>
              <a:gd name="connsiteX122" fmla="*/ 976691 w 1568450"/>
              <a:gd name="connsiteY122" fmla="*/ 1724354 h 1896949"/>
              <a:gd name="connsiteX123" fmla="*/ 979071 w 1568450"/>
              <a:gd name="connsiteY123" fmla="*/ 1736266 h 1896949"/>
              <a:gd name="connsiteX124" fmla="*/ 981452 w 1568450"/>
              <a:gd name="connsiteY124" fmla="*/ 1748178 h 1896949"/>
              <a:gd name="connsiteX125" fmla="*/ 983038 w 1568450"/>
              <a:gd name="connsiteY125" fmla="*/ 1760884 h 1896949"/>
              <a:gd name="connsiteX126" fmla="*/ 981452 w 1568450"/>
              <a:gd name="connsiteY126" fmla="*/ 1775179 h 1896949"/>
              <a:gd name="connsiteX127" fmla="*/ 979071 w 1568450"/>
              <a:gd name="connsiteY127" fmla="*/ 1791062 h 1896949"/>
              <a:gd name="connsiteX128" fmla="*/ 974311 w 1568450"/>
              <a:gd name="connsiteY128" fmla="*/ 1803769 h 1896949"/>
              <a:gd name="connsiteX129" fmla="*/ 970309 w 1568450"/>
              <a:gd name="connsiteY129" fmla="*/ 1814069 h 1896949"/>
              <a:gd name="connsiteX130" fmla="*/ 966787 w 1568450"/>
              <a:gd name="connsiteY130" fmla="*/ 1819190 h 1896949"/>
              <a:gd name="connsiteX131" fmla="*/ 958850 w 1568450"/>
              <a:gd name="connsiteY131" fmla="*/ 1831092 h 1896949"/>
              <a:gd name="connsiteX132" fmla="*/ 948531 w 1568450"/>
              <a:gd name="connsiteY132" fmla="*/ 1842994 h 1896949"/>
              <a:gd name="connsiteX133" fmla="*/ 936625 w 1568450"/>
              <a:gd name="connsiteY133" fmla="*/ 1854102 h 1896949"/>
              <a:gd name="connsiteX134" fmla="*/ 923131 w 1568450"/>
              <a:gd name="connsiteY134" fmla="*/ 1862037 h 1896949"/>
              <a:gd name="connsiteX135" fmla="*/ 908844 w 1568450"/>
              <a:gd name="connsiteY135" fmla="*/ 1871558 h 1896949"/>
              <a:gd name="connsiteX136" fmla="*/ 893762 w 1568450"/>
              <a:gd name="connsiteY136" fmla="*/ 1878699 h 1896949"/>
              <a:gd name="connsiteX137" fmla="*/ 877887 w 1568450"/>
              <a:gd name="connsiteY137" fmla="*/ 1885047 h 1896949"/>
              <a:gd name="connsiteX138" fmla="*/ 861219 w 1568450"/>
              <a:gd name="connsiteY138" fmla="*/ 1889808 h 1896949"/>
              <a:gd name="connsiteX139" fmla="*/ 843756 w 1568450"/>
              <a:gd name="connsiteY139" fmla="*/ 1892982 h 1896949"/>
              <a:gd name="connsiteX140" fmla="*/ 826294 w 1568450"/>
              <a:gd name="connsiteY140" fmla="*/ 1895362 h 1896949"/>
              <a:gd name="connsiteX141" fmla="*/ 807244 w 1568450"/>
              <a:gd name="connsiteY141" fmla="*/ 1896949 h 1896949"/>
              <a:gd name="connsiteX142" fmla="*/ 788987 w 1568450"/>
              <a:gd name="connsiteY142" fmla="*/ 1895362 h 1896949"/>
              <a:gd name="connsiteX143" fmla="*/ 769937 w 1568450"/>
              <a:gd name="connsiteY143" fmla="*/ 1892982 h 1896949"/>
              <a:gd name="connsiteX144" fmla="*/ 753269 w 1568450"/>
              <a:gd name="connsiteY144" fmla="*/ 1889808 h 1896949"/>
              <a:gd name="connsiteX145" fmla="*/ 736600 w 1568450"/>
              <a:gd name="connsiteY145" fmla="*/ 1885047 h 1896949"/>
              <a:gd name="connsiteX146" fmla="*/ 720725 w 1568450"/>
              <a:gd name="connsiteY146" fmla="*/ 1878699 h 1896949"/>
              <a:gd name="connsiteX147" fmla="*/ 704850 w 1568450"/>
              <a:gd name="connsiteY147" fmla="*/ 1871558 h 1896949"/>
              <a:gd name="connsiteX148" fmla="*/ 692150 w 1568450"/>
              <a:gd name="connsiteY148" fmla="*/ 1862037 h 1896949"/>
              <a:gd name="connsiteX149" fmla="*/ 678656 w 1568450"/>
              <a:gd name="connsiteY149" fmla="*/ 1854102 h 1896949"/>
              <a:gd name="connsiteX150" fmla="*/ 666750 w 1568450"/>
              <a:gd name="connsiteY150" fmla="*/ 1842994 h 1896949"/>
              <a:gd name="connsiteX151" fmla="*/ 656431 w 1568450"/>
              <a:gd name="connsiteY151" fmla="*/ 1831092 h 1896949"/>
              <a:gd name="connsiteX152" fmla="*/ 646906 w 1568450"/>
              <a:gd name="connsiteY152" fmla="*/ 1819190 h 1896949"/>
              <a:gd name="connsiteX153" fmla="*/ 639762 w 1568450"/>
              <a:gd name="connsiteY153" fmla="*/ 1806494 h 1896949"/>
              <a:gd name="connsiteX154" fmla="*/ 633412 w 1568450"/>
              <a:gd name="connsiteY154" fmla="*/ 1793799 h 1896949"/>
              <a:gd name="connsiteX155" fmla="*/ 628650 w 1568450"/>
              <a:gd name="connsiteY155" fmla="*/ 1779517 h 1896949"/>
              <a:gd name="connsiteX156" fmla="*/ 626269 w 1568450"/>
              <a:gd name="connsiteY156" fmla="*/ 1765234 h 1896949"/>
              <a:gd name="connsiteX157" fmla="*/ 625475 w 1568450"/>
              <a:gd name="connsiteY157" fmla="*/ 1749365 h 1896949"/>
              <a:gd name="connsiteX158" fmla="*/ 625475 w 1568450"/>
              <a:gd name="connsiteY158" fmla="*/ 1736670 h 1896949"/>
              <a:gd name="connsiteX159" fmla="*/ 627856 w 1568450"/>
              <a:gd name="connsiteY159" fmla="*/ 1724768 h 1896949"/>
              <a:gd name="connsiteX160" fmla="*/ 631031 w 1568450"/>
              <a:gd name="connsiteY160" fmla="*/ 1713659 h 1896949"/>
              <a:gd name="connsiteX161" fmla="*/ 635000 w 1568450"/>
              <a:gd name="connsiteY161" fmla="*/ 1703344 h 1896949"/>
              <a:gd name="connsiteX162" fmla="*/ 636755 w 1568450"/>
              <a:gd name="connsiteY162" fmla="*/ 1700128 h 1896949"/>
              <a:gd name="connsiteX163" fmla="*/ 638696 w 1568450"/>
              <a:gd name="connsiteY163" fmla="*/ 1697352 h 1896949"/>
              <a:gd name="connsiteX164" fmla="*/ 645044 w 1568450"/>
              <a:gd name="connsiteY164" fmla="*/ 1688617 h 1896949"/>
              <a:gd name="connsiteX165" fmla="*/ 650597 w 1568450"/>
              <a:gd name="connsiteY165" fmla="*/ 1683058 h 1896949"/>
              <a:gd name="connsiteX166" fmla="*/ 662499 w 1568450"/>
              <a:gd name="connsiteY166" fmla="*/ 1671940 h 1896949"/>
              <a:gd name="connsiteX167" fmla="*/ 672020 w 1568450"/>
              <a:gd name="connsiteY167" fmla="*/ 1663998 h 1896949"/>
              <a:gd name="connsiteX168" fmla="*/ 683127 w 1568450"/>
              <a:gd name="connsiteY168" fmla="*/ 1657645 h 1896949"/>
              <a:gd name="connsiteX169" fmla="*/ 693442 w 1568450"/>
              <a:gd name="connsiteY169" fmla="*/ 1652086 h 1896949"/>
              <a:gd name="connsiteX170" fmla="*/ 702963 w 1568450"/>
              <a:gd name="connsiteY170" fmla="*/ 1644938 h 1896949"/>
              <a:gd name="connsiteX171" fmla="*/ 709310 w 1568450"/>
              <a:gd name="connsiteY171" fmla="*/ 1636203 h 1896949"/>
              <a:gd name="connsiteX172" fmla="*/ 713623 w 1568450"/>
              <a:gd name="connsiteY172" fmla="*/ 1629008 h 1896949"/>
              <a:gd name="connsiteX173" fmla="*/ 715962 w 1568450"/>
              <a:gd name="connsiteY173" fmla="*/ 1626378 h 1896949"/>
              <a:gd name="connsiteX174" fmla="*/ 720725 w 1568450"/>
              <a:gd name="connsiteY174" fmla="*/ 1617650 h 1896949"/>
              <a:gd name="connsiteX175" fmla="*/ 721519 w 1568450"/>
              <a:gd name="connsiteY175" fmla="*/ 1610509 h 1896949"/>
              <a:gd name="connsiteX176" fmla="*/ 720725 w 1568450"/>
              <a:gd name="connsiteY176" fmla="*/ 1603368 h 1896949"/>
              <a:gd name="connsiteX177" fmla="*/ 716756 w 1568450"/>
              <a:gd name="connsiteY177" fmla="*/ 1596226 h 1896949"/>
              <a:gd name="connsiteX178" fmla="*/ 711994 w 1568450"/>
              <a:gd name="connsiteY178" fmla="*/ 1590672 h 1896949"/>
              <a:gd name="connsiteX179" fmla="*/ 706437 w 1568450"/>
              <a:gd name="connsiteY179" fmla="*/ 1586705 h 1896949"/>
              <a:gd name="connsiteX180" fmla="*/ 697706 w 1568450"/>
              <a:gd name="connsiteY180" fmla="*/ 1584324 h 1896949"/>
              <a:gd name="connsiteX181" fmla="*/ 689769 w 1568450"/>
              <a:gd name="connsiteY181" fmla="*/ 1583531 h 1896949"/>
              <a:gd name="connsiteX182" fmla="*/ 680244 w 1568450"/>
              <a:gd name="connsiteY182" fmla="*/ 1581944 h 1896949"/>
              <a:gd name="connsiteX183" fmla="*/ 361156 w 1568450"/>
              <a:gd name="connsiteY183" fmla="*/ 1581944 h 1896949"/>
              <a:gd name="connsiteX184" fmla="*/ 361156 w 1568450"/>
              <a:gd name="connsiteY184" fmla="*/ 1581151 h 1896949"/>
              <a:gd name="connsiteX185" fmla="*/ 0 w 1568450"/>
              <a:gd name="connsiteY185" fmla="*/ 1581151 h 1896949"/>
              <a:gd name="connsiteX186" fmla="*/ 0 w 1568450"/>
              <a:gd name="connsiteY186" fmla="*/ 902739 h 1896949"/>
              <a:gd name="connsiteX187" fmla="*/ 0 w 1568450"/>
              <a:gd name="connsiteY187" fmla="*/ 893218 h 1896949"/>
              <a:gd name="connsiteX188" fmla="*/ 2381 w 1568450"/>
              <a:gd name="connsiteY188" fmla="*/ 885283 h 1896949"/>
              <a:gd name="connsiteX189" fmla="*/ 3969 w 1568450"/>
              <a:gd name="connsiteY189" fmla="*/ 878142 h 1896949"/>
              <a:gd name="connsiteX190" fmla="*/ 7144 w 1568450"/>
              <a:gd name="connsiteY190" fmla="*/ 873381 h 1896949"/>
              <a:gd name="connsiteX191" fmla="*/ 11112 w 1568450"/>
              <a:gd name="connsiteY191" fmla="*/ 868620 h 1896949"/>
              <a:gd name="connsiteX192" fmla="*/ 14287 w 1568450"/>
              <a:gd name="connsiteY192" fmla="*/ 864653 h 1896949"/>
              <a:gd name="connsiteX193" fmla="*/ 16628 w 1568450"/>
              <a:gd name="connsiteY193" fmla="*/ 863483 h 1896949"/>
              <a:gd name="connsiteX194" fmla="*/ 19843 w 1568450"/>
              <a:gd name="connsiteY194" fmla="*/ 863483 h 1896949"/>
              <a:gd name="connsiteX195" fmla="*/ 26193 w 1568450"/>
              <a:gd name="connsiteY195" fmla="*/ 864276 h 1896949"/>
              <a:gd name="connsiteX196" fmla="*/ 30956 w 1568450"/>
              <a:gd name="connsiteY196" fmla="*/ 866655 h 1896949"/>
              <a:gd name="connsiteX197" fmla="*/ 36512 w 1568450"/>
              <a:gd name="connsiteY197" fmla="*/ 870620 h 1896949"/>
              <a:gd name="connsiteX198" fmla="*/ 41275 w 1568450"/>
              <a:gd name="connsiteY198" fmla="*/ 875379 h 1896949"/>
              <a:gd name="connsiteX199" fmla="*/ 46037 w 1568450"/>
              <a:gd name="connsiteY199" fmla="*/ 880930 h 1896949"/>
              <a:gd name="connsiteX200" fmla="*/ 51593 w 1568450"/>
              <a:gd name="connsiteY200" fmla="*/ 888068 h 1896949"/>
              <a:gd name="connsiteX201" fmla="*/ 55562 w 1568450"/>
              <a:gd name="connsiteY201" fmla="*/ 896792 h 1896949"/>
              <a:gd name="connsiteX202" fmla="*/ 61118 w 1568450"/>
              <a:gd name="connsiteY202" fmla="*/ 906309 h 1896949"/>
              <a:gd name="connsiteX203" fmla="*/ 69850 w 1568450"/>
              <a:gd name="connsiteY203" fmla="*/ 916619 h 1896949"/>
              <a:gd name="connsiteX204" fmla="*/ 80168 w 1568450"/>
              <a:gd name="connsiteY204" fmla="*/ 928515 h 1896949"/>
              <a:gd name="connsiteX205" fmla="*/ 86518 w 1568450"/>
              <a:gd name="connsiteY205" fmla="*/ 934067 h 1896949"/>
              <a:gd name="connsiteX206" fmla="*/ 94456 w 1568450"/>
              <a:gd name="connsiteY206" fmla="*/ 940412 h 1896949"/>
              <a:gd name="connsiteX207" fmla="*/ 103187 w 1568450"/>
              <a:gd name="connsiteY207" fmla="*/ 945170 h 1896949"/>
              <a:gd name="connsiteX208" fmla="*/ 112712 w 1568450"/>
              <a:gd name="connsiteY208" fmla="*/ 949929 h 1896949"/>
              <a:gd name="connsiteX209" fmla="*/ 122237 w 1568450"/>
              <a:gd name="connsiteY209" fmla="*/ 954687 h 1896949"/>
              <a:gd name="connsiteX210" fmla="*/ 134143 w 1568450"/>
              <a:gd name="connsiteY210" fmla="*/ 957066 h 1896949"/>
              <a:gd name="connsiteX211" fmla="*/ 146050 w 1568450"/>
              <a:gd name="connsiteY211" fmla="*/ 959446 h 1896949"/>
              <a:gd name="connsiteX212" fmla="*/ 158750 w 1568450"/>
              <a:gd name="connsiteY212" fmla="*/ 960239 h 1896949"/>
              <a:gd name="connsiteX213" fmla="*/ 173037 w 1568450"/>
              <a:gd name="connsiteY213" fmla="*/ 959446 h 1896949"/>
              <a:gd name="connsiteX214" fmla="*/ 188118 w 1568450"/>
              <a:gd name="connsiteY214" fmla="*/ 955480 h 1896949"/>
              <a:gd name="connsiteX215" fmla="*/ 195484 w 1568450"/>
              <a:gd name="connsiteY215" fmla="*/ 953748 h 1896949"/>
              <a:gd name="connsiteX216" fmla="*/ 196850 w 1568450"/>
              <a:gd name="connsiteY216" fmla="*/ 953521 h 1896949"/>
              <a:gd name="connsiteX217" fmla="*/ 197804 w 1568450"/>
              <a:gd name="connsiteY217" fmla="*/ 953203 h 1896949"/>
              <a:gd name="connsiteX218" fmla="*/ 201612 w 1568450"/>
              <a:gd name="connsiteY218" fmla="*/ 952308 h 1896949"/>
              <a:gd name="connsiteX219" fmla="*/ 203860 w 1568450"/>
              <a:gd name="connsiteY219" fmla="*/ 951185 h 1896949"/>
              <a:gd name="connsiteX220" fmla="*/ 211137 w 1568450"/>
              <a:gd name="connsiteY220" fmla="*/ 948760 h 1896949"/>
              <a:gd name="connsiteX221" fmla="*/ 224631 w 1568450"/>
              <a:gd name="connsiteY221" fmla="*/ 943206 h 1896949"/>
              <a:gd name="connsiteX222" fmla="*/ 237331 w 1568450"/>
              <a:gd name="connsiteY222" fmla="*/ 934478 h 1896949"/>
              <a:gd name="connsiteX223" fmla="*/ 249237 w 1568450"/>
              <a:gd name="connsiteY223" fmla="*/ 924956 h 1896949"/>
              <a:gd name="connsiteX224" fmla="*/ 260350 w 1568450"/>
              <a:gd name="connsiteY224" fmla="*/ 915435 h 1896949"/>
              <a:gd name="connsiteX225" fmla="*/ 270669 w 1568450"/>
              <a:gd name="connsiteY225" fmla="*/ 903533 h 1896949"/>
              <a:gd name="connsiteX226" fmla="*/ 280194 w 1568450"/>
              <a:gd name="connsiteY226" fmla="*/ 890837 h 1896949"/>
              <a:gd name="connsiteX227" fmla="*/ 288131 w 1568450"/>
              <a:gd name="connsiteY227" fmla="*/ 876555 h 1896949"/>
              <a:gd name="connsiteX228" fmla="*/ 295275 w 1568450"/>
              <a:gd name="connsiteY228" fmla="*/ 861479 h 1896949"/>
              <a:gd name="connsiteX229" fmla="*/ 302419 w 1568450"/>
              <a:gd name="connsiteY229" fmla="*/ 845610 h 1896949"/>
              <a:gd name="connsiteX230" fmla="*/ 307181 w 1568450"/>
              <a:gd name="connsiteY230" fmla="*/ 828947 h 1896949"/>
              <a:gd name="connsiteX231" fmla="*/ 311150 w 1568450"/>
              <a:gd name="connsiteY231" fmla="*/ 811491 h 1896949"/>
              <a:gd name="connsiteX232" fmla="*/ 313531 w 1568450"/>
              <a:gd name="connsiteY232" fmla="*/ 793241 h 1896949"/>
              <a:gd name="connsiteX233" fmla="*/ 313531 w 1568450"/>
              <a:gd name="connsiteY233" fmla="*/ 774991 h 1896949"/>
              <a:gd name="connsiteX234" fmla="*/ 313531 w 1568450"/>
              <a:gd name="connsiteY234" fmla="*/ 756742 h 1896949"/>
              <a:gd name="connsiteX235" fmla="*/ 311150 w 1568450"/>
              <a:gd name="connsiteY235" fmla="*/ 737699 h 1896949"/>
              <a:gd name="connsiteX236" fmla="*/ 307181 w 1568450"/>
              <a:gd name="connsiteY236" fmla="*/ 721036 h 1896949"/>
              <a:gd name="connsiteX237" fmla="*/ 302419 w 1568450"/>
              <a:gd name="connsiteY237" fmla="*/ 703580 h 1896949"/>
              <a:gd name="connsiteX238" fmla="*/ 295275 w 1568450"/>
              <a:gd name="connsiteY238" fmla="*/ 687710 h 1896949"/>
              <a:gd name="connsiteX239" fmla="*/ 288131 w 1568450"/>
              <a:gd name="connsiteY239" fmla="*/ 672635 h 1896949"/>
              <a:gd name="connsiteX240" fmla="*/ 280194 w 1568450"/>
              <a:gd name="connsiteY240" fmla="*/ 659939 h 1896949"/>
              <a:gd name="connsiteX241" fmla="*/ 270669 w 1568450"/>
              <a:gd name="connsiteY241" fmla="*/ 646450 h 1896949"/>
              <a:gd name="connsiteX242" fmla="*/ 260350 w 1568450"/>
              <a:gd name="connsiteY242" fmla="*/ 634548 h 1896949"/>
              <a:gd name="connsiteX243" fmla="*/ 249237 w 1568450"/>
              <a:gd name="connsiteY243" fmla="*/ 624233 h 1896949"/>
              <a:gd name="connsiteX244" fmla="*/ 237331 w 1568450"/>
              <a:gd name="connsiteY244" fmla="*/ 614712 h 1896949"/>
              <a:gd name="connsiteX245" fmla="*/ 224631 w 1568450"/>
              <a:gd name="connsiteY245" fmla="*/ 607571 h 1896949"/>
              <a:gd name="connsiteX246" fmla="*/ 211137 w 1568450"/>
              <a:gd name="connsiteY246" fmla="*/ 601223 h 1896949"/>
              <a:gd name="connsiteX247" fmla="*/ 196850 w 1568450"/>
              <a:gd name="connsiteY247" fmla="*/ 596462 h 1896949"/>
              <a:gd name="connsiteX248" fmla="*/ 182562 w 1568450"/>
              <a:gd name="connsiteY248" fmla="*/ 594082 h 1896949"/>
              <a:gd name="connsiteX249" fmla="*/ 167481 w 1568450"/>
              <a:gd name="connsiteY249" fmla="*/ 593288 h 1896949"/>
              <a:gd name="connsiteX250" fmla="*/ 153987 w 1568450"/>
              <a:gd name="connsiteY250" fmla="*/ 593288 h 1896949"/>
              <a:gd name="connsiteX251" fmla="*/ 142875 w 1568450"/>
              <a:gd name="connsiteY251" fmla="*/ 595669 h 1896949"/>
              <a:gd name="connsiteX252" fmla="*/ 131762 w 1568450"/>
              <a:gd name="connsiteY252" fmla="*/ 598843 h 1896949"/>
              <a:gd name="connsiteX253" fmla="*/ 121444 w 1568450"/>
              <a:gd name="connsiteY253" fmla="*/ 602810 h 1896949"/>
              <a:gd name="connsiteX254" fmla="*/ 121366 w 1568450"/>
              <a:gd name="connsiteY254" fmla="*/ 602849 h 1896949"/>
              <a:gd name="connsiteX255" fmla="*/ 112712 w 1568450"/>
              <a:gd name="connsiteY255" fmla="*/ 605731 h 1896949"/>
              <a:gd name="connsiteX256" fmla="*/ 103187 w 1568450"/>
              <a:gd name="connsiteY256" fmla="*/ 610490 h 1896949"/>
              <a:gd name="connsiteX257" fmla="*/ 94456 w 1568450"/>
              <a:gd name="connsiteY257" fmla="*/ 616834 h 1896949"/>
              <a:gd name="connsiteX258" fmla="*/ 86518 w 1568450"/>
              <a:gd name="connsiteY258" fmla="*/ 621593 h 1896949"/>
              <a:gd name="connsiteX259" fmla="*/ 80168 w 1568450"/>
              <a:gd name="connsiteY259" fmla="*/ 628730 h 1896949"/>
              <a:gd name="connsiteX260" fmla="*/ 69850 w 1568450"/>
              <a:gd name="connsiteY260" fmla="*/ 639041 h 1896949"/>
              <a:gd name="connsiteX261" fmla="*/ 61118 w 1568450"/>
              <a:gd name="connsiteY261" fmla="*/ 650144 h 1896949"/>
              <a:gd name="connsiteX262" fmla="*/ 55562 w 1568450"/>
              <a:gd name="connsiteY262" fmla="*/ 659661 h 1896949"/>
              <a:gd name="connsiteX263" fmla="*/ 51593 w 1568450"/>
              <a:gd name="connsiteY263" fmla="*/ 667591 h 1896949"/>
              <a:gd name="connsiteX264" fmla="*/ 46037 w 1568450"/>
              <a:gd name="connsiteY264" fmla="*/ 674729 h 1896949"/>
              <a:gd name="connsiteX265" fmla="*/ 41275 w 1568450"/>
              <a:gd name="connsiteY265" fmla="*/ 680281 h 1896949"/>
              <a:gd name="connsiteX266" fmla="*/ 36512 w 1568450"/>
              <a:gd name="connsiteY266" fmla="*/ 685039 h 1896949"/>
              <a:gd name="connsiteX267" fmla="*/ 31863 w 1568450"/>
              <a:gd name="connsiteY267" fmla="*/ 688358 h 1896949"/>
              <a:gd name="connsiteX268" fmla="*/ 28575 w 1568450"/>
              <a:gd name="connsiteY268" fmla="*/ 689297 h 1896949"/>
              <a:gd name="connsiteX269" fmla="*/ 23812 w 1568450"/>
              <a:gd name="connsiteY269" fmla="*/ 689297 h 1896949"/>
              <a:gd name="connsiteX270" fmla="*/ 19050 w 1568450"/>
              <a:gd name="connsiteY270" fmla="*/ 687710 h 1896949"/>
              <a:gd name="connsiteX271" fmla="*/ 14287 w 1568450"/>
              <a:gd name="connsiteY271" fmla="*/ 685330 h 1896949"/>
              <a:gd name="connsiteX272" fmla="*/ 11112 w 1568450"/>
              <a:gd name="connsiteY272" fmla="*/ 682156 h 1896949"/>
              <a:gd name="connsiteX273" fmla="*/ 7144 w 1568450"/>
              <a:gd name="connsiteY273" fmla="*/ 677395 h 1896949"/>
              <a:gd name="connsiteX274" fmla="*/ 3969 w 1568450"/>
              <a:gd name="connsiteY274" fmla="*/ 671841 h 1896949"/>
              <a:gd name="connsiteX275" fmla="*/ 2381 w 1568450"/>
              <a:gd name="connsiteY275" fmla="*/ 664700 h 1896949"/>
              <a:gd name="connsiteX276" fmla="*/ 0 w 1568450"/>
              <a:gd name="connsiteY276" fmla="*/ 655972 h 1896949"/>
              <a:gd name="connsiteX277" fmla="*/ 0 w 1568450"/>
              <a:gd name="connsiteY277" fmla="*/ 648037 h 1896949"/>
              <a:gd name="connsiteX278" fmla="*/ 0 w 1568450"/>
              <a:gd name="connsiteY278" fmla="*/ 10886 h 1896949"/>
              <a:gd name="connsiteX279" fmla="*/ 434181 w 1568450"/>
              <a:gd name="connsiteY279" fmla="*/ 10886 h 1896949"/>
              <a:gd name="connsiteX280" fmla="*/ 434181 w 1568450"/>
              <a:gd name="connsiteY280" fmla="*/ 9299 h 1896949"/>
              <a:gd name="connsiteX281" fmla="*/ 633412 w 1568450"/>
              <a:gd name="connsiteY281" fmla="*/ 9299 h 1896949"/>
              <a:gd name="connsiteX282" fmla="*/ 642937 w 1568450"/>
              <a:gd name="connsiteY282" fmla="*/ 9299 h 1896949"/>
              <a:gd name="connsiteX283" fmla="*/ 652462 w 1568450"/>
              <a:gd name="connsiteY283" fmla="*/ 6919 h 1896949"/>
              <a:gd name="connsiteX284" fmla="*/ 659606 w 1568450"/>
              <a:gd name="connsiteY284" fmla="*/ 4538 h 1896949"/>
              <a:gd name="connsiteX285" fmla="*/ 665956 w 1568450"/>
              <a:gd name="connsiteY285" fmla="*/ 1364 h 1896949"/>
              <a:gd name="connsiteX286" fmla="*/ 667548 w 1568450"/>
              <a:gd name="connsiteY286" fmla="*/ 0 h 1896949"/>
              <a:gd name="connsiteX287" fmla="*/ 670719 w 1568450"/>
              <a:gd name="connsiteY287" fmla="*/ 0 h 1896949"/>
              <a:gd name="connsiteX288" fmla="*/ 680244 w 1568450"/>
              <a:gd name="connsiteY288" fmla="*/ 1587 h 1896949"/>
              <a:gd name="connsiteX289" fmla="*/ 688181 w 1568450"/>
              <a:gd name="connsiteY289" fmla="*/ 2380 h 1896949"/>
              <a:gd name="connsiteX290" fmla="*/ 696912 w 1568450"/>
              <a:gd name="connsiteY290" fmla="*/ 4761 h 1896949"/>
              <a:gd name="connsiteX291" fmla="*/ 702469 w 1568450"/>
              <a:gd name="connsiteY291" fmla="*/ 8728 h 1896949"/>
              <a:gd name="connsiteX292" fmla="*/ 707231 w 1568450"/>
              <a:gd name="connsiteY292" fmla="*/ 14282 h 1896949"/>
              <a:gd name="connsiteX293" fmla="*/ 711200 w 1568450"/>
              <a:gd name="connsiteY293" fmla="*/ 21424 h 1896949"/>
              <a:gd name="connsiteX294" fmla="*/ 711994 w 1568450"/>
              <a:gd name="connsiteY294" fmla="*/ 28565 h 1896949"/>
              <a:gd name="connsiteX295" fmla="*/ 711200 w 1568450"/>
              <a:gd name="connsiteY295" fmla="*/ 35706 h 1896949"/>
              <a:gd name="connsiteX296" fmla="*/ 706437 w 1568450"/>
              <a:gd name="connsiteY296" fmla="*/ 44434 h 1896949"/>
              <a:gd name="connsiteX297" fmla="*/ 700087 w 1568450"/>
              <a:gd name="connsiteY297" fmla="*/ 51575 h 1896949"/>
              <a:gd name="connsiteX298" fmla="*/ 690562 w 1568450"/>
              <a:gd name="connsiteY298" fmla="*/ 58716 h 1896949"/>
              <a:gd name="connsiteX299" fmla="*/ 683085 w 1568450"/>
              <a:gd name="connsiteY299" fmla="*/ 63891 h 1896949"/>
              <a:gd name="connsiteX300" fmla="*/ 678656 w 1568450"/>
              <a:gd name="connsiteY300" fmla="*/ 66105 h 1896949"/>
              <a:gd name="connsiteX301" fmla="*/ 676469 w 1568450"/>
              <a:gd name="connsiteY301" fmla="*/ 67744 h 1896949"/>
              <a:gd name="connsiteX302" fmla="*/ 669131 w 1568450"/>
              <a:gd name="connsiteY302" fmla="*/ 71412 h 1896949"/>
              <a:gd name="connsiteX303" fmla="*/ 659606 w 1568450"/>
              <a:gd name="connsiteY303" fmla="*/ 78553 h 1896949"/>
              <a:gd name="connsiteX304" fmla="*/ 647700 w 1568450"/>
              <a:gd name="connsiteY304" fmla="*/ 89661 h 1896949"/>
              <a:gd name="connsiteX305" fmla="*/ 642144 w 1568450"/>
              <a:gd name="connsiteY305" fmla="*/ 96803 h 1896949"/>
              <a:gd name="connsiteX306" fmla="*/ 635794 w 1568450"/>
              <a:gd name="connsiteY306" fmla="*/ 103944 h 1896949"/>
              <a:gd name="connsiteX307" fmla="*/ 630237 w 1568450"/>
              <a:gd name="connsiteY307" fmla="*/ 112672 h 1896949"/>
              <a:gd name="connsiteX308" fmla="*/ 625475 w 1568450"/>
              <a:gd name="connsiteY308" fmla="*/ 121400 h 1896949"/>
              <a:gd name="connsiteX309" fmla="*/ 621506 w 1568450"/>
              <a:gd name="connsiteY309" fmla="*/ 131715 h 1896949"/>
              <a:gd name="connsiteX310" fmla="*/ 618331 w 1568450"/>
              <a:gd name="connsiteY310" fmla="*/ 142824 h 1896949"/>
              <a:gd name="connsiteX311" fmla="*/ 615950 w 1568450"/>
              <a:gd name="connsiteY311" fmla="*/ 154726 h 1896949"/>
              <a:gd name="connsiteX312" fmla="*/ 615950 w 1568450"/>
              <a:gd name="connsiteY312" fmla="*/ 167421 h 1896949"/>
              <a:gd name="connsiteX313" fmla="*/ 616744 w 1568450"/>
              <a:gd name="connsiteY313" fmla="*/ 183290 h 1896949"/>
              <a:gd name="connsiteX314" fmla="*/ 619125 w 1568450"/>
              <a:gd name="connsiteY314" fmla="*/ 197573 h 1896949"/>
              <a:gd name="connsiteX315" fmla="*/ 623887 w 1568450"/>
              <a:gd name="connsiteY315" fmla="*/ 211855 h 1896949"/>
              <a:gd name="connsiteX316" fmla="*/ 630237 w 1568450"/>
              <a:gd name="connsiteY316" fmla="*/ 224550 h 1896949"/>
              <a:gd name="connsiteX317" fmla="*/ 637381 w 1568450"/>
              <a:gd name="connsiteY317" fmla="*/ 237246 h 1896949"/>
              <a:gd name="connsiteX318" fmla="*/ 646906 w 1568450"/>
              <a:gd name="connsiteY318" fmla="*/ 249148 h 1896949"/>
              <a:gd name="connsiteX319" fmla="*/ 657225 w 1568450"/>
              <a:gd name="connsiteY319" fmla="*/ 261050 h 1896949"/>
              <a:gd name="connsiteX320" fmla="*/ 669131 w 1568450"/>
              <a:gd name="connsiteY320" fmla="*/ 272158 h 1896949"/>
              <a:gd name="connsiteX321" fmla="*/ 682625 w 1568450"/>
              <a:gd name="connsiteY321" fmla="*/ 280093 h 1896949"/>
              <a:gd name="connsiteX322" fmla="*/ 695325 w 1568450"/>
              <a:gd name="connsiteY322" fmla="*/ 289614 h 1896949"/>
              <a:gd name="connsiteX323" fmla="*/ 711200 w 1568450"/>
              <a:gd name="connsiteY323" fmla="*/ 296755 h 1896949"/>
              <a:gd name="connsiteX324" fmla="*/ 727075 w 1568450"/>
              <a:gd name="connsiteY324" fmla="*/ 303103 h 1896949"/>
              <a:gd name="connsiteX325" fmla="*/ 743744 w 1568450"/>
              <a:gd name="connsiteY325" fmla="*/ 307864 h 1896949"/>
              <a:gd name="connsiteX326" fmla="*/ 760412 w 1568450"/>
              <a:gd name="connsiteY326" fmla="*/ 311038 h 1896949"/>
              <a:gd name="connsiteX327" fmla="*/ 779462 w 1568450"/>
              <a:gd name="connsiteY327" fmla="*/ 313418 h 1896949"/>
              <a:gd name="connsiteX328" fmla="*/ 797719 w 1568450"/>
              <a:gd name="connsiteY328" fmla="*/ 315005 h 1896949"/>
              <a:gd name="connsiteX329" fmla="*/ 816769 w 1568450"/>
              <a:gd name="connsiteY329" fmla="*/ 313418 h 1896949"/>
              <a:gd name="connsiteX330" fmla="*/ 834231 w 1568450"/>
              <a:gd name="connsiteY330" fmla="*/ 311038 h 1896949"/>
              <a:gd name="connsiteX331" fmla="*/ 851694 w 1568450"/>
              <a:gd name="connsiteY331" fmla="*/ 307864 h 1896949"/>
              <a:gd name="connsiteX332" fmla="*/ 868362 w 1568450"/>
              <a:gd name="connsiteY332" fmla="*/ 303103 h 1896949"/>
              <a:gd name="connsiteX333" fmla="*/ 884237 w 1568450"/>
              <a:gd name="connsiteY333" fmla="*/ 296755 h 1896949"/>
              <a:gd name="connsiteX334" fmla="*/ 899319 w 1568450"/>
              <a:gd name="connsiteY334" fmla="*/ 289614 h 1896949"/>
              <a:gd name="connsiteX335" fmla="*/ 903451 w 1568450"/>
              <a:gd name="connsiteY335" fmla="*/ 286860 h 1896949"/>
              <a:gd name="connsiteX336" fmla="*/ 908844 w 1568450"/>
              <a:gd name="connsiteY336" fmla="*/ 284307 h 1896949"/>
              <a:gd name="connsiteX337" fmla="*/ 923131 w 1568450"/>
              <a:gd name="connsiteY337" fmla="*/ 274786 h 1896949"/>
              <a:gd name="connsiteX338" fmla="*/ 936625 w 1568450"/>
              <a:gd name="connsiteY338" fmla="*/ 266851 h 1896949"/>
              <a:gd name="connsiteX339" fmla="*/ 948531 w 1568450"/>
              <a:gd name="connsiteY339" fmla="*/ 255743 h 1896949"/>
              <a:gd name="connsiteX340" fmla="*/ 958850 w 1568450"/>
              <a:gd name="connsiteY340" fmla="*/ 243841 h 1896949"/>
              <a:gd name="connsiteX341" fmla="*/ 966787 w 1568450"/>
              <a:gd name="connsiteY341" fmla="*/ 231939 h 1896949"/>
              <a:gd name="connsiteX342" fmla="*/ 975519 w 1568450"/>
              <a:gd name="connsiteY342" fmla="*/ 219243 h 1896949"/>
              <a:gd name="connsiteX343" fmla="*/ 981075 w 1568450"/>
              <a:gd name="connsiteY343" fmla="*/ 206548 h 1896949"/>
              <a:gd name="connsiteX344" fmla="*/ 985837 w 1568450"/>
              <a:gd name="connsiteY344" fmla="*/ 192266 h 1896949"/>
              <a:gd name="connsiteX345" fmla="*/ 988219 w 1568450"/>
              <a:gd name="connsiteY345" fmla="*/ 177983 h 1896949"/>
              <a:gd name="connsiteX346" fmla="*/ 989806 w 1568450"/>
              <a:gd name="connsiteY346" fmla="*/ 162114 h 1896949"/>
              <a:gd name="connsiteX347" fmla="*/ 988219 w 1568450"/>
              <a:gd name="connsiteY347" fmla="*/ 149419 h 1896949"/>
              <a:gd name="connsiteX348" fmla="*/ 985837 w 1568450"/>
              <a:gd name="connsiteY348" fmla="*/ 137517 h 1896949"/>
              <a:gd name="connsiteX349" fmla="*/ 983456 w 1568450"/>
              <a:gd name="connsiteY349" fmla="*/ 126408 h 1896949"/>
              <a:gd name="connsiteX350" fmla="*/ 978694 w 1568450"/>
              <a:gd name="connsiteY350" fmla="*/ 116093 h 1896949"/>
              <a:gd name="connsiteX351" fmla="*/ 973931 w 1568450"/>
              <a:gd name="connsiteY351" fmla="*/ 107365 h 1896949"/>
              <a:gd name="connsiteX352" fmla="*/ 969169 w 1568450"/>
              <a:gd name="connsiteY352" fmla="*/ 98637 h 1896949"/>
              <a:gd name="connsiteX353" fmla="*/ 963612 w 1568450"/>
              <a:gd name="connsiteY353" fmla="*/ 91496 h 1896949"/>
              <a:gd name="connsiteX354" fmla="*/ 957262 w 1568450"/>
              <a:gd name="connsiteY354" fmla="*/ 84354 h 1896949"/>
              <a:gd name="connsiteX355" fmla="*/ 946150 w 1568450"/>
              <a:gd name="connsiteY355" fmla="*/ 73246 h 1896949"/>
              <a:gd name="connsiteX356" fmla="*/ 935037 w 1568450"/>
              <a:gd name="connsiteY356" fmla="*/ 66105 h 1896949"/>
              <a:gd name="connsiteX357" fmla="*/ 925512 w 1568450"/>
              <a:gd name="connsiteY357" fmla="*/ 60551 h 1896949"/>
              <a:gd name="connsiteX358" fmla="*/ 913606 w 1568450"/>
              <a:gd name="connsiteY358" fmla="*/ 53409 h 1896949"/>
              <a:gd name="connsiteX359" fmla="*/ 905669 w 1568450"/>
              <a:gd name="connsiteY359" fmla="*/ 46268 h 1896949"/>
              <a:gd name="connsiteX360" fmla="*/ 898525 w 1568450"/>
              <a:gd name="connsiteY360" fmla="*/ 39127 h 1896949"/>
              <a:gd name="connsiteX361" fmla="*/ 894556 w 1568450"/>
              <a:gd name="connsiteY361" fmla="*/ 30399 h 1896949"/>
              <a:gd name="connsiteX362" fmla="*/ 893762 w 1568450"/>
              <a:gd name="connsiteY362" fmla="*/ 23258 h 1896949"/>
              <a:gd name="connsiteX363" fmla="*/ 893762 w 1568450"/>
              <a:gd name="connsiteY363" fmla="*/ 16117 h 1896949"/>
              <a:gd name="connsiteX364" fmla="*/ 896793 w 1568450"/>
              <a:gd name="connsiteY364" fmla="*/ 9299 h 1896949"/>
              <a:gd name="connsiteX365" fmla="*/ 1208087 w 1568450"/>
              <a:gd name="connsiteY365" fmla="*/ 9299 h 1896949"/>
              <a:gd name="connsiteX366" fmla="*/ 1208087 w 1568450"/>
              <a:gd name="connsiteY366" fmla="*/ 10886 h 1896949"/>
              <a:gd name="connsiteX367" fmla="*/ 1568450 w 1568450"/>
              <a:gd name="connsiteY367" fmla="*/ 10886 h 1896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Lst>
            <a:rect l="l" t="t" r="r" b="b"/>
            <a:pathLst>
              <a:path w="1568450" h="1896949">
                <a:moveTo>
                  <a:pt x="1568450" y="10886"/>
                </a:moveTo>
                <a:lnTo>
                  <a:pt x="1568450" y="13167"/>
                </a:lnTo>
                <a:lnTo>
                  <a:pt x="1562924" y="13167"/>
                </a:lnTo>
                <a:lnTo>
                  <a:pt x="1565306" y="696298"/>
                </a:lnTo>
                <a:lnTo>
                  <a:pt x="1563718" y="704232"/>
                </a:lnTo>
                <a:lnTo>
                  <a:pt x="1562924" y="712960"/>
                </a:lnTo>
                <a:lnTo>
                  <a:pt x="1560542" y="720100"/>
                </a:lnTo>
                <a:lnTo>
                  <a:pt x="1558160" y="724861"/>
                </a:lnTo>
                <a:lnTo>
                  <a:pt x="1557863" y="725218"/>
                </a:lnTo>
                <a:lnTo>
                  <a:pt x="1554162" y="728177"/>
                </a:lnTo>
                <a:lnTo>
                  <a:pt x="1549400" y="730557"/>
                </a:lnTo>
                <a:lnTo>
                  <a:pt x="1544637" y="732144"/>
                </a:lnTo>
                <a:lnTo>
                  <a:pt x="1539081" y="732144"/>
                </a:lnTo>
                <a:lnTo>
                  <a:pt x="1534319" y="730557"/>
                </a:lnTo>
                <a:lnTo>
                  <a:pt x="1528762" y="728177"/>
                </a:lnTo>
                <a:lnTo>
                  <a:pt x="1524000" y="725003"/>
                </a:lnTo>
                <a:lnTo>
                  <a:pt x="1517650" y="720242"/>
                </a:lnTo>
                <a:lnTo>
                  <a:pt x="1512887" y="713895"/>
                </a:lnTo>
                <a:lnTo>
                  <a:pt x="1508125" y="708341"/>
                </a:lnTo>
                <a:lnTo>
                  <a:pt x="1503362" y="699612"/>
                </a:lnTo>
                <a:lnTo>
                  <a:pt x="1497806" y="689297"/>
                </a:lnTo>
                <a:lnTo>
                  <a:pt x="1490662" y="679776"/>
                </a:lnTo>
                <a:lnTo>
                  <a:pt x="1479550" y="667874"/>
                </a:lnTo>
                <a:lnTo>
                  <a:pt x="1472406" y="662320"/>
                </a:lnTo>
                <a:lnTo>
                  <a:pt x="1465262" y="655972"/>
                </a:lnTo>
                <a:lnTo>
                  <a:pt x="1457325" y="650418"/>
                </a:lnTo>
                <a:lnTo>
                  <a:pt x="1447800" y="645657"/>
                </a:lnTo>
                <a:lnTo>
                  <a:pt x="1436687" y="641690"/>
                </a:lnTo>
                <a:lnTo>
                  <a:pt x="1426369" y="638516"/>
                </a:lnTo>
                <a:lnTo>
                  <a:pt x="1414462" y="636135"/>
                </a:lnTo>
                <a:lnTo>
                  <a:pt x="1401762" y="636135"/>
                </a:lnTo>
                <a:lnTo>
                  <a:pt x="1385887" y="636929"/>
                </a:lnTo>
                <a:lnTo>
                  <a:pt x="1371600" y="639309"/>
                </a:lnTo>
                <a:lnTo>
                  <a:pt x="1357312" y="644070"/>
                </a:lnTo>
                <a:lnTo>
                  <a:pt x="1344612" y="650418"/>
                </a:lnTo>
                <a:lnTo>
                  <a:pt x="1331119" y="657559"/>
                </a:lnTo>
                <a:lnTo>
                  <a:pt x="1319212" y="667080"/>
                </a:lnTo>
                <a:lnTo>
                  <a:pt x="1307306" y="677395"/>
                </a:lnTo>
                <a:lnTo>
                  <a:pt x="1298817" y="688967"/>
                </a:lnTo>
                <a:lnTo>
                  <a:pt x="1294523" y="693918"/>
                </a:lnTo>
                <a:lnTo>
                  <a:pt x="1284994" y="705819"/>
                </a:lnTo>
                <a:lnTo>
                  <a:pt x="1277054" y="720100"/>
                </a:lnTo>
                <a:lnTo>
                  <a:pt x="1269907" y="735175"/>
                </a:lnTo>
                <a:lnTo>
                  <a:pt x="1262760" y="751043"/>
                </a:lnTo>
                <a:lnTo>
                  <a:pt x="1257995" y="767705"/>
                </a:lnTo>
                <a:lnTo>
                  <a:pt x="1254025" y="785160"/>
                </a:lnTo>
                <a:lnTo>
                  <a:pt x="1251643" y="802616"/>
                </a:lnTo>
                <a:lnTo>
                  <a:pt x="1251643" y="821658"/>
                </a:lnTo>
                <a:lnTo>
                  <a:pt x="1251643" y="840699"/>
                </a:lnTo>
                <a:lnTo>
                  <a:pt x="1254025" y="858948"/>
                </a:lnTo>
                <a:lnTo>
                  <a:pt x="1257995" y="876403"/>
                </a:lnTo>
                <a:lnTo>
                  <a:pt x="1262760" y="893065"/>
                </a:lnTo>
                <a:lnTo>
                  <a:pt x="1269907" y="908140"/>
                </a:lnTo>
                <a:lnTo>
                  <a:pt x="1277054" y="924008"/>
                </a:lnTo>
                <a:lnTo>
                  <a:pt x="1284994" y="938290"/>
                </a:lnTo>
                <a:lnTo>
                  <a:pt x="1294523" y="950984"/>
                </a:lnTo>
                <a:lnTo>
                  <a:pt x="1304846" y="962092"/>
                </a:lnTo>
                <a:lnTo>
                  <a:pt x="1315964" y="972407"/>
                </a:lnTo>
                <a:lnTo>
                  <a:pt x="1327875" y="981928"/>
                </a:lnTo>
                <a:lnTo>
                  <a:pt x="1340580" y="989068"/>
                </a:lnTo>
                <a:lnTo>
                  <a:pt x="1354080" y="996209"/>
                </a:lnTo>
                <a:lnTo>
                  <a:pt x="1368373" y="1000176"/>
                </a:lnTo>
                <a:lnTo>
                  <a:pt x="1382667" y="1003350"/>
                </a:lnTo>
                <a:lnTo>
                  <a:pt x="1397754" y="1004937"/>
                </a:lnTo>
                <a:lnTo>
                  <a:pt x="1410460" y="1003350"/>
                </a:lnTo>
                <a:lnTo>
                  <a:pt x="1422371" y="1000970"/>
                </a:lnTo>
                <a:lnTo>
                  <a:pt x="1434282" y="998589"/>
                </a:lnTo>
                <a:lnTo>
                  <a:pt x="1443811" y="993829"/>
                </a:lnTo>
                <a:lnTo>
                  <a:pt x="1453340" y="989068"/>
                </a:lnTo>
                <a:lnTo>
                  <a:pt x="1462075" y="984308"/>
                </a:lnTo>
                <a:lnTo>
                  <a:pt x="1469222" y="978754"/>
                </a:lnTo>
                <a:lnTo>
                  <a:pt x="1476369" y="972407"/>
                </a:lnTo>
                <a:lnTo>
                  <a:pt x="1486692" y="960505"/>
                </a:lnTo>
                <a:lnTo>
                  <a:pt x="1489900" y="956718"/>
                </a:lnTo>
                <a:lnTo>
                  <a:pt x="1490662" y="955901"/>
                </a:lnTo>
                <a:lnTo>
                  <a:pt x="1490980" y="955442"/>
                </a:lnTo>
                <a:lnTo>
                  <a:pt x="1495427" y="950191"/>
                </a:lnTo>
                <a:lnTo>
                  <a:pt x="1500985" y="940670"/>
                </a:lnTo>
                <a:lnTo>
                  <a:pt x="1502083" y="938257"/>
                </a:lnTo>
                <a:lnTo>
                  <a:pt x="1503362" y="936065"/>
                </a:lnTo>
                <a:lnTo>
                  <a:pt x="1508125" y="927336"/>
                </a:lnTo>
                <a:lnTo>
                  <a:pt x="1510004" y="924518"/>
                </a:lnTo>
                <a:lnTo>
                  <a:pt x="1515279" y="919248"/>
                </a:lnTo>
                <a:lnTo>
                  <a:pt x="1520043" y="914487"/>
                </a:lnTo>
                <a:lnTo>
                  <a:pt x="1525602" y="910520"/>
                </a:lnTo>
                <a:lnTo>
                  <a:pt x="1530367" y="908140"/>
                </a:lnTo>
                <a:lnTo>
                  <a:pt x="1536719" y="907346"/>
                </a:lnTo>
                <a:lnTo>
                  <a:pt x="1541484" y="907346"/>
                </a:lnTo>
                <a:lnTo>
                  <a:pt x="1546248" y="908140"/>
                </a:lnTo>
                <a:lnTo>
                  <a:pt x="1551013" y="910520"/>
                </a:lnTo>
                <a:lnTo>
                  <a:pt x="1554189" y="914487"/>
                </a:lnTo>
                <a:lnTo>
                  <a:pt x="1558160" y="919248"/>
                </a:lnTo>
                <a:lnTo>
                  <a:pt x="1561336" y="924802"/>
                </a:lnTo>
                <a:lnTo>
                  <a:pt x="1563718" y="931942"/>
                </a:lnTo>
                <a:lnTo>
                  <a:pt x="1565306" y="940670"/>
                </a:lnTo>
                <a:lnTo>
                  <a:pt x="1565306" y="950191"/>
                </a:lnTo>
                <a:lnTo>
                  <a:pt x="1565306" y="1581151"/>
                </a:lnTo>
                <a:lnTo>
                  <a:pt x="1134269" y="1581151"/>
                </a:lnTo>
                <a:lnTo>
                  <a:pt x="1134269" y="1581944"/>
                </a:lnTo>
                <a:lnTo>
                  <a:pt x="935037" y="1581944"/>
                </a:lnTo>
                <a:lnTo>
                  <a:pt x="925512" y="1583531"/>
                </a:lnTo>
                <a:lnTo>
                  <a:pt x="915987" y="1584324"/>
                </a:lnTo>
                <a:lnTo>
                  <a:pt x="908844" y="1586705"/>
                </a:lnTo>
                <a:lnTo>
                  <a:pt x="903287" y="1590672"/>
                </a:lnTo>
                <a:lnTo>
                  <a:pt x="896937" y="1596226"/>
                </a:lnTo>
                <a:lnTo>
                  <a:pt x="893762" y="1603368"/>
                </a:lnTo>
                <a:lnTo>
                  <a:pt x="893762" y="1604151"/>
                </a:lnTo>
                <a:lnTo>
                  <a:pt x="890209" y="1606819"/>
                </a:lnTo>
                <a:lnTo>
                  <a:pt x="887035" y="1613967"/>
                </a:lnTo>
                <a:lnTo>
                  <a:pt x="887035" y="1621114"/>
                </a:lnTo>
                <a:lnTo>
                  <a:pt x="887829" y="1628261"/>
                </a:lnTo>
                <a:lnTo>
                  <a:pt x="891796" y="1636203"/>
                </a:lnTo>
                <a:lnTo>
                  <a:pt x="898936" y="1644938"/>
                </a:lnTo>
                <a:lnTo>
                  <a:pt x="906871" y="1652086"/>
                </a:lnTo>
                <a:lnTo>
                  <a:pt x="918772" y="1657645"/>
                </a:lnTo>
                <a:lnTo>
                  <a:pt x="928293" y="1663998"/>
                </a:lnTo>
                <a:lnTo>
                  <a:pt x="939401" y="1671940"/>
                </a:lnTo>
                <a:lnTo>
                  <a:pt x="950508" y="1683058"/>
                </a:lnTo>
                <a:lnTo>
                  <a:pt x="956856" y="1688617"/>
                </a:lnTo>
                <a:lnTo>
                  <a:pt x="962410" y="1697352"/>
                </a:lnTo>
                <a:lnTo>
                  <a:pt x="967170" y="1705294"/>
                </a:lnTo>
                <a:lnTo>
                  <a:pt x="971931" y="1714824"/>
                </a:lnTo>
                <a:lnTo>
                  <a:pt x="976691" y="1724354"/>
                </a:lnTo>
                <a:lnTo>
                  <a:pt x="979071" y="1736266"/>
                </a:lnTo>
                <a:lnTo>
                  <a:pt x="981452" y="1748178"/>
                </a:lnTo>
                <a:lnTo>
                  <a:pt x="983038" y="1760884"/>
                </a:lnTo>
                <a:lnTo>
                  <a:pt x="981452" y="1775179"/>
                </a:lnTo>
                <a:lnTo>
                  <a:pt x="979071" y="1791062"/>
                </a:lnTo>
                <a:lnTo>
                  <a:pt x="974311" y="1803769"/>
                </a:lnTo>
                <a:lnTo>
                  <a:pt x="970309" y="1814069"/>
                </a:lnTo>
                <a:lnTo>
                  <a:pt x="966787" y="1819190"/>
                </a:lnTo>
                <a:lnTo>
                  <a:pt x="958850" y="1831092"/>
                </a:lnTo>
                <a:lnTo>
                  <a:pt x="948531" y="1842994"/>
                </a:lnTo>
                <a:lnTo>
                  <a:pt x="936625" y="1854102"/>
                </a:lnTo>
                <a:lnTo>
                  <a:pt x="923131" y="1862037"/>
                </a:lnTo>
                <a:lnTo>
                  <a:pt x="908844" y="1871558"/>
                </a:lnTo>
                <a:lnTo>
                  <a:pt x="893762" y="1878699"/>
                </a:lnTo>
                <a:lnTo>
                  <a:pt x="877887" y="1885047"/>
                </a:lnTo>
                <a:lnTo>
                  <a:pt x="861219" y="1889808"/>
                </a:lnTo>
                <a:lnTo>
                  <a:pt x="843756" y="1892982"/>
                </a:lnTo>
                <a:lnTo>
                  <a:pt x="826294" y="1895362"/>
                </a:lnTo>
                <a:lnTo>
                  <a:pt x="807244" y="1896949"/>
                </a:lnTo>
                <a:lnTo>
                  <a:pt x="788987" y="1895362"/>
                </a:lnTo>
                <a:lnTo>
                  <a:pt x="769937" y="1892982"/>
                </a:lnTo>
                <a:lnTo>
                  <a:pt x="753269" y="1889808"/>
                </a:lnTo>
                <a:lnTo>
                  <a:pt x="736600" y="1885047"/>
                </a:lnTo>
                <a:lnTo>
                  <a:pt x="720725" y="1878699"/>
                </a:lnTo>
                <a:lnTo>
                  <a:pt x="704850" y="1871558"/>
                </a:lnTo>
                <a:lnTo>
                  <a:pt x="692150" y="1862037"/>
                </a:lnTo>
                <a:lnTo>
                  <a:pt x="678656" y="1854102"/>
                </a:lnTo>
                <a:lnTo>
                  <a:pt x="666750" y="1842994"/>
                </a:lnTo>
                <a:lnTo>
                  <a:pt x="656431" y="1831092"/>
                </a:lnTo>
                <a:lnTo>
                  <a:pt x="646906" y="1819190"/>
                </a:lnTo>
                <a:lnTo>
                  <a:pt x="639762" y="1806494"/>
                </a:lnTo>
                <a:lnTo>
                  <a:pt x="633412" y="1793799"/>
                </a:lnTo>
                <a:lnTo>
                  <a:pt x="628650" y="1779517"/>
                </a:lnTo>
                <a:lnTo>
                  <a:pt x="626269" y="1765234"/>
                </a:lnTo>
                <a:lnTo>
                  <a:pt x="625475" y="1749365"/>
                </a:lnTo>
                <a:lnTo>
                  <a:pt x="625475" y="1736670"/>
                </a:lnTo>
                <a:lnTo>
                  <a:pt x="627856" y="1724768"/>
                </a:lnTo>
                <a:lnTo>
                  <a:pt x="631031" y="1713659"/>
                </a:lnTo>
                <a:lnTo>
                  <a:pt x="635000" y="1703344"/>
                </a:lnTo>
                <a:lnTo>
                  <a:pt x="636755" y="1700128"/>
                </a:lnTo>
                <a:lnTo>
                  <a:pt x="638696" y="1697352"/>
                </a:lnTo>
                <a:lnTo>
                  <a:pt x="645044" y="1688617"/>
                </a:lnTo>
                <a:lnTo>
                  <a:pt x="650597" y="1683058"/>
                </a:lnTo>
                <a:lnTo>
                  <a:pt x="662499" y="1671940"/>
                </a:lnTo>
                <a:lnTo>
                  <a:pt x="672020" y="1663998"/>
                </a:lnTo>
                <a:lnTo>
                  <a:pt x="683127" y="1657645"/>
                </a:lnTo>
                <a:lnTo>
                  <a:pt x="693442" y="1652086"/>
                </a:lnTo>
                <a:lnTo>
                  <a:pt x="702963" y="1644938"/>
                </a:lnTo>
                <a:lnTo>
                  <a:pt x="709310" y="1636203"/>
                </a:lnTo>
                <a:lnTo>
                  <a:pt x="713623" y="1629008"/>
                </a:lnTo>
                <a:lnTo>
                  <a:pt x="715962" y="1626378"/>
                </a:lnTo>
                <a:lnTo>
                  <a:pt x="720725" y="1617650"/>
                </a:lnTo>
                <a:lnTo>
                  <a:pt x="721519" y="1610509"/>
                </a:lnTo>
                <a:lnTo>
                  <a:pt x="720725" y="1603368"/>
                </a:lnTo>
                <a:lnTo>
                  <a:pt x="716756" y="1596226"/>
                </a:lnTo>
                <a:lnTo>
                  <a:pt x="711994" y="1590672"/>
                </a:lnTo>
                <a:lnTo>
                  <a:pt x="706437" y="1586705"/>
                </a:lnTo>
                <a:lnTo>
                  <a:pt x="697706" y="1584324"/>
                </a:lnTo>
                <a:lnTo>
                  <a:pt x="689769" y="1583531"/>
                </a:lnTo>
                <a:lnTo>
                  <a:pt x="680244" y="1581944"/>
                </a:lnTo>
                <a:lnTo>
                  <a:pt x="361156" y="1581944"/>
                </a:lnTo>
                <a:lnTo>
                  <a:pt x="361156" y="1581151"/>
                </a:lnTo>
                <a:lnTo>
                  <a:pt x="0" y="1581151"/>
                </a:lnTo>
                <a:lnTo>
                  <a:pt x="0" y="902739"/>
                </a:lnTo>
                <a:lnTo>
                  <a:pt x="0" y="893218"/>
                </a:lnTo>
                <a:lnTo>
                  <a:pt x="2381" y="885283"/>
                </a:lnTo>
                <a:lnTo>
                  <a:pt x="3969" y="878142"/>
                </a:lnTo>
                <a:lnTo>
                  <a:pt x="7144" y="873381"/>
                </a:lnTo>
                <a:lnTo>
                  <a:pt x="11112" y="868620"/>
                </a:lnTo>
                <a:lnTo>
                  <a:pt x="14287" y="864653"/>
                </a:lnTo>
                <a:lnTo>
                  <a:pt x="16628" y="863483"/>
                </a:lnTo>
                <a:lnTo>
                  <a:pt x="19843" y="863483"/>
                </a:lnTo>
                <a:lnTo>
                  <a:pt x="26193" y="864276"/>
                </a:lnTo>
                <a:lnTo>
                  <a:pt x="30956" y="866655"/>
                </a:lnTo>
                <a:lnTo>
                  <a:pt x="36512" y="870620"/>
                </a:lnTo>
                <a:lnTo>
                  <a:pt x="41275" y="875379"/>
                </a:lnTo>
                <a:lnTo>
                  <a:pt x="46037" y="880930"/>
                </a:lnTo>
                <a:lnTo>
                  <a:pt x="51593" y="888068"/>
                </a:lnTo>
                <a:lnTo>
                  <a:pt x="55562" y="896792"/>
                </a:lnTo>
                <a:lnTo>
                  <a:pt x="61118" y="906309"/>
                </a:lnTo>
                <a:lnTo>
                  <a:pt x="69850" y="916619"/>
                </a:lnTo>
                <a:lnTo>
                  <a:pt x="80168" y="928515"/>
                </a:lnTo>
                <a:lnTo>
                  <a:pt x="86518" y="934067"/>
                </a:lnTo>
                <a:lnTo>
                  <a:pt x="94456" y="940412"/>
                </a:lnTo>
                <a:lnTo>
                  <a:pt x="103187" y="945170"/>
                </a:lnTo>
                <a:lnTo>
                  <a:pt x="112712" y="949929"/>
                </a:lnTo>
                <a:lnTo>
                  <a:pt x="122237" y="954687"/>
                </a:lnTo>
                <a:lnTo>
                  <a:pt x="134143" y="957066"/>
                </a:lnTo>
                <a:lnTo>
                  <a:pt x="146050" y="959446"/>
                </a:lnTo>
                <a:lnTo>
                  <a:pt x="158750" y="960239"/>
                </a:lnTo>
                <a:lnTo>
                  <a:pt x="173037" y="959446"/>
                </a:lnTo>
                <a:lnTo>
                  <a:pt x="188118" y="955480"/>
                </a:lnTo>
                <a:lnTo>
                  <a:pt x="195484" y="953748"/>
                </a:lnTo>
                <a:lnTo>
                  <a:pt x="196850" y="953521"/>
                </a:lnTo>
                <a:lnTo>
                  <a:pt x="197804" y="953203"/>
                </a:lnTo>
                <a:lnTo>
                  <a:pt x="201612" y="952308"/>
                </a:lnTo>
                <a:lnTo>
                  <a:pt x="203860" y="951185"/>
                </a:lnTo>
                <a:lnTo>
                  <a:pt x="211137" y="948760"/>
                </a:lnTo>
                <a:lnTo>
                  <a:pt x="224631" y="943206"/>
                </a:lnTo>
                <a:lnTo>
                  <a:pt x="237331" y="934478"/>
                </a:lnTo>
                <a:lnTo>
                  <a:pt x="249237" y="924956"/>
                </a:lnTo>
                <a:lnTo>
                  <a:pt x="260350" y="915435"/>
                </a:lnTo>
                <a:lnTo>
                  <a:pt x="270669" y="903533"/>
                </a:lnTo>
                <a:lnTo>
                  <a:pt x="280194" y="890837"/>
                </a:lnTo>
                <a:lnTo>
                  <a:pt x="288131" y="876555"/>
                </a:lnTo>
                <a:lnTo>
                  <a:pt x="295275" y="861479"/>
                </a:lnTo>
                <a:lnTo>
                  <a:pt x="302419" y="845610"/>
                </a:lnTo>
                <a:lnTo>
                  <a:pt x="307181" y="828947"/>
                </a:lnTo>
                <a:lnTo>
                  <a:pt x="311150" y="811491"/>
                </a:lnTo>
                <a:lnTo>
                  <a:pt x="313531" y="793241"/>
                </a:lnTo>
                <a:lnTo>
                  <a:pt x="313531" y="774991"/>
                </a:lnTo>
                <a:lnTo>
                  <a:pt x="313531" y="756742"/>
                </a:lnTo>
                <a:lnTo>
                  <a:pt x="311150" y="737699"/>
                </a:lnTo>
                <a:lnTo>
                  <a:pt x="307181" y="721036"/>
                </a:lnTo>
                <a:lnTo>
                  <a:pt x="302419" y="703580"/>
                </a:lnTo>
                <a:lnTo>
                  <a:pt x="295275" y="687710"/>
                </a:lnTo>
                <a:lnTo>
                  <a:pt x="288131" y="672635"/>
                </a:lnTo>
                <a:lnTo>
                  <a:pt x="280194" y="659939"/>
                </a:lnTo>
                <a:lnTo>
                  <a:pt x="270669" y="646450"/>
                </a:lnTo>
                <a:lnTo>
                  <a:pt x="260350" y="634548"/>
                </a:lnTo>
                <a:lnTo>
                  <a:pt x="249237" y="624233"/>
                </a:lnTo>
                <a:lnTo>
                  <a:pt x="237331" y="614712"/>
                </a:lnTo>
                <a:lnTo>
                  <a:pt x="224631" y="607571"/>
                </a:lnTo>
                <a:lnTo>
                  <a:pt x="211137" y="601223"/>
                </a:lnTo>
                <a:lnTo>
                  <a:pt x="196850" y="596462"/>
                </a:lnTo>
                <a:lnTo>
                  <a:pt x="182562" y="594082"/>
                </a:lnTo>
                <a:lnTo>
                  <a:pt x="167481" y="593288"/>
                </a:lnTo>
                <a:lnTo>
                  <a:pt x="153987" y="593288"/>
                </a:lnTo>
                <a:lnTo>
                  <a:pt x="142875" y="595669"/>
                </a:lnTo>
                <a:lnTo>
                  <a:pt x="131762" y="598843"/>
                </a:lnTo>
                <a:lnTo>
                  <a:pt x="121444" y="602810"/>
                </a:lnTo>
                <a:lnTo>
                  <a:pt x="121366" y="602849"/>
                </a:lnTo>
                <a:lnTo>
                  <a:pt x="112712" y="605731"/>
                </a:lnTo>
                <a:lnTo>
                  <a:pt x="103187" y="610490"/>
                </a:lnTo>
                <a:lnTo>
                  <a:pt x="94456" y="616834"/>
                </a:lnTo>
                <a:lnTo>
                  <a:pt x="86518" y="621593"/>
                </a:lnTo>
                <a:lnTo>
                  <a:pt x="80168" y="628730"/>
                </a:lnTo>
                <a:lnTo>
                  <a:pt x="69850" y="639041"/>
                </a:lnTo>
                <a:lnTo>
                  <a:pt x="61118" y="650144"/>
                </a:lnTo>
                <a:lnTo>
                  <a:pt x="55562" y="659661"/>
                </a:lnTo>
                <a:lnTo>
                  <a:pt x="51593" y="667591"/>
                </a:lnTo>
                <a:lnTo>
                  <a:pt x="46037" y="674729"/>
                </a:lnTo>
                <a:lnTo>
                  <a:pt x="41275" y="680281"/>
                </a:lnTo>
                <a:lnTo>
                  <a:pt x="36512" y="685039"/>
                </a:lnTo>
                <a:lnTo>
                  <a:pt x="31863" y="688358"/>
                </a:lnTo>
                <a:lnTo>
                  <a:pt x="28575" y="689297"/>
                </a:lnTo>
                <a:lnTo>
                  <a:pt x="23812" y="689297"/>
                </a:lnTo>
                <a:lnTo>
                  <a:pt x="19050" y="687710"/>
                </a:lnTo>
                <a:lnTo>
                  <a:pt x="14287" y="685330"/>
                </a:lnTo>
                <a:lnTo>
                  <a:pt x="11112" y="682156"/>
                </a:lnTo>
                <a:lnTo>
                  <a:pt x="7144" y="677395"/>
                </a:lnTo>
                <a:lnTo>
                  <a:pt x="3969" y="671841"/>
                </a:lnTo>
                <a:lnTo>
                  <a:pt x="2381" y="664700"/>
                </a:lnTo>
                <a:lnTo>
                  <a:pt x="0" y="655972"/>
                </a:lnTo>
                <a:lnTo>
                  <a:pt x="0" y="648037"/>
                </a:lnTo>
                <a:lnTo>
                  <a:pt x="0" y="10886"/>
                </a:lnTo>
                <a:lnTo>
                  <a:pt x="434181" y="10886"/>
                </a:lnTo>
                <a:lnTo>
                  <a:pt x="434181" y="9299"/>
                </a:lnTo>
                <a:lnTo>
                  <a:pt x="633412" y="9299"/>
                </a:lnTo>
                <a:lnTo>
                  <a:pt x="642937" y="9299"/>
                </a:lnTo>
                <a:lnTo>
                  <a:pt x="652462" y="6919"/>
                </a:lnTo>
                <a:lnTo>
                  <a:pt x="659606" y="4538"/>
                </a:lnTo>
                <a:lnTo>
                  <a:pt x="665956" y="1364"/>
                </a:lnTo>
                <a:lnTo>
                  <a:pt x="667548" y="0"/>
                </a:lnTo>
                <a:lnTo>
                  <a:pt x="670719" y="0"/>
                </a:lnTo>
                <a:lnTo>
                  <a:pt x="680244" y="1587"/>
                </a:lnTo>
                <a:lnTo>
                  <a:pt x="688181" y="2380"/>
                </a:lnTo>
                <a:lnTo>
                  <a:pt x="696912" y="4761"/>
                </a:lnTo>
                <a:lnTo>
                  <a:pt x="702469" y="8728"/>
                </a:lnTo>
                <a:lnTo>
                  <a:pt x="707231" y="14282"/>
                </a:lnTo>
                <a:lnTo>
                  <a:pt x="711200" y="21424"/>
                </a:lnTo>
                <a:lnTo>
                  <a:pt x="711994" y="28565"/>
                </a:lnTo>
                <a:lnTo>
                  <a:pt x="711200" y="35706"/>
                </a:lnTo>
                <a:lnTo>
                  <a:pt x="706437" y="44434"/>
                </a:lnTo>
                <a:lnTo>
                  <a:pt x="700087" y="51575"/>
                </a:lnTo>
                <a:lnTo>
                  <a:pt x="690562" y="58716"/>
                </a:lnTo>
                <a:lnTo>
                  <a:pt x="683085" y="63891"/>
                </a:lnTo>
                <a:lnTo>
                  <a:pt x="678656" y="66105"/>
                </a:lnTo>
                <a:lnTo>
                  <a:pt x="676469" y="67744"/>
                </a:lnTo>
                <a:lnTo>
                  <a:pt x="669131" y="71412"/>
                </a:lnTo>
                <a:lnTo>
                  <a:pt x="659606" y="78553"/>
                </a:lnTo>
                <a:lnTo>
                  <a:pt x="647700" y="89661"/>
                </a:lnTo>
                <a:lnTo>
                  <a:pt x="642144" y="96803"/>
                </a:lnTo>
                <a:lnTo>
                  <a:pt x="635794" y="103944"/>
                </a:lnTo>
                <a:lnTo>
                  <a:pt x="630237" y="112672"/>
                </a:lnTo>
                <a:lnTo>
                  <a:pt x="625475" y="121400"/>
                </a:lnTo>
                <a:lnTo>
                  <a:pt x="621506" y="131715"/>
                </a:lnTo>
                <a:lnTo>
                  <a:pt x="618331" y="142824"/>
                </a:lnTo>
                <a:lnTo>
                  <a:pt x="615950" y="154726"/>
                </a:lnTo>
                <a:lnTo>
                  <a:pt x="615950" y="167421"/>
                </a:lnTo>
                <a:lnTo>
                  <a:pt x="616744" y="183290"/>
                </a:lnTo>
                <a:lnTo>
                  <a:pt x="619125" y="197573"/>
                </a:lnTo>
                <a:lnTo>
                  <a:pt x="623887" y="211855"/>
                </a:lnTo>
                <a:lnTo>
                  <a:pt x="630237" y="224550"/>
                </a:lnTo>
                <a:lnTo>
                  <a:pt x="637381" y="237246"/>
                </a:lnTo>
                <a:lnTo>
                  <a:pt x="646906" y="249148"/>
                </a:lnTo>
                <a:lnTo>
                  <a:pt x="657225" y="261050"/>
                </a:lnTo>
                <a:lnTo>
                  <a:pt x="669131" y="272158"/>
                </a:lnTo>
                <a:lnTo>
                  <a:pt x="682625" y="280093"/>
                </a:lnTo>
                <a:lnTo>
                  <a:pt x="695325" y="289614"/>
                </a:lnTo>
                <a:lnTo>
                  <a:pt x="711200" y="296755"/>
                </a:lnTo>
                <a:lnTo>
                  <a:pt x="727075" y="303103"/>
                </a:lnTo>
                <a:lnTo>
                  <a:pt x="743744" y="307864"/>
                </a:lnTo>
                <a:lnTo>
                  <a:pt x="760412" y="311038"/>
                </a:lnTo>
                <a:lnTo>
                  <a:pt x="779462" y="313418"/>
                </a:lnTo>
                <a:lnTo>
                  <a:pt x="797719" y="315005"/>
                </a:lnTo>
                <a:lnTo>
                  <a:pt x="816769" y="313418"/>
                </a:lnTo>
                <a:lnTo>
                  <a:pt x="834231" y="311038"/>
                </a:lnTo>
                <a:lnTo>
                  <a:pt x="851694" y="307864"/>
                </a:lnTo>
                <a:lnTo>
                  <a:pt x="868362" y="303103"/>
                </a:lnTo>
                <a:lnTo>
                  <a:pt x="884237" y="296755"/>
                </a:lnTo>
                <a:lnTo>
                  <a:pt x="899319" y="289614"/>
                </a:lnTo>
                <a:lnTo>
                  <a:pt x="903451" y="286860"/>
                </a:lnTo>
                <a:lnTo>
                  <a:pt x="908844" y="284307"/>
                </a:lnTo>
                <a:lnTo>
                  <a:pt x="923131" y="274786"/>
                </a:lnTo>
                <a:lnTo>
                  <a:pt x="936625" y="266851"/>
                </a:lnTo>
                <a:lnTo>
                  <a:pt x="948531" y="255743"/>
                </a:lnTo>
                <a:lnTo>
                  <a:pt x="958850" y="243841"/>
                </a:lnTo>
                <a:lnTo>
                  <a:pt x="966787" y="231939"/>
                </a:lnTo>
                <a:lnTo>
                  <a:pt x="975519" y="219243"/>
                </a:lnTo>
                <a:lnTo>
                  <a:pt x="981075" y="206548"/>
                </a:lnTo>
                <a:lnTo>
                  <a:pt x="985837" y="192266"/>
                </a:lnTo>
                <a:lnTo>
                  <a:pt x="988219" y="177983"/>
                </a:lnTo>
                <a:lnTo>
                  <a:pt x="989806" y="162114"/>
                </a:lnTo>
                <a:lnTo>
                  <a:pt x="988219" y="149419"/>
                </a:lnTo>
                <a:lnTo>
                  <a:pt x="985837" y="137517"/>
                </a:lnTo>
                <a:lnTo>
                  <a:pt x="983456" y="126408"/>
                </a:lnTo>
                <a:lnTo>
                  <a:pt x="978694" y="116093"/>
                </a:lnTo>
                <a:lnTo>
                  <a:pt x="973931" y="107365"/>
                </a:lnTo>
                <a:lnTo>
                  <a:pt x="969169" y="98637"/>
                </a:lnTo>
                <a:lnTo>
                  <a:pt x="963612" y="91496"/>
                </a:lnTo>
                <a:lnTo>
                  <a:pt x="957262" y="84354"/>
                </a:lnTo>
                <a:lnTo>
                  <a:pt x="946150" y="73246"/>
                </a:lnTo>
                <a:lnTo>
                  <a:pt x="935037" y="66105"/>
                </a:lnTo>
                <a:lnTo>
                  <a:pt x="925512" y="60551"/>
                </a:lnTo>
                <a:lnTo>
                  <a:pt x="913606" y="53409"/>
                </a:lnTo>
                <a:lnTo>
                  <a:pt x="905669" y="46268"/>
                </a:lnTo>
                <a:lnTo>
                  <a:pt x="898525" y="39127"/>
                </a:lnTo>
                <a:lnTo>
                  <a:pt x="894556" y="30399"/>
                </a:lnTo>
                <a:lnTo>
                  <a:pt x="893762" y="23258"/>
                </a:lnTo>
                <a:lnTo>
                  <a:pt x="893762" y="16117"/>
                </a:lnTo>
                <a:lnTo>
                  <a:pt x="896793" y="9299"/>
                </a:lnTo>
                <a:lnTo>
                  <a:pt x="1208087" y="9299"/>
                </a:lnTo>
                <a:lnTo>
                  <a:pt x="1208087" y="10886"/>
                </a:lnTo>
                <a:lnTo>
                  <a:pt x="1568450" y="10886"/>
                </a:lnTo>
                <a:close/>
              </a:path>
            </a:pathLst>
          </a:custGeom>
          <a:ln>
            <a:solidFill>
              <a:schemeClr val="tx1">
                <a:lumMod val="50000"/>
                <a:lumOff val="50000"/>
              </a:schemeClr>
            </a:solidFill>
          </a:ln>
        </p:spPr>
      </p:pic>
      <p:pic>
        <p:nvPicPr>
          <p:cNvPr id="9" name="Picture 8">
            <a:extLst>
              <a:ext uri="{FF2B5EF4-FFF2-40B4-BE49-F238E27FC236}">
                <a16:creationId xmlns:a16="http://schemas.microsoft.com/office/drawing/2014/main" id="{7E2F5962-E9F0-4396-BA69-08B0323A646A}"/>
              </a:ext>
            </a:extLst>
          </p:cNvPr>
          <p:cNvPicPr>
            <a:picLocks noChangeAspect="1"/>
          </p:cNvPicPr>
          <p:nvPr/>
        </p:nvPicPr>
        <p:blipFill rotWithShape="1">
          <a:blip r:embed="rId2"/>
          <a:srcRect l="31955" t="381" r="33095" b="74941"/>
          <a:stretch/>
        </p:blipFill>
        <p:spPr>
          <a:xfrm rot="20166441">
            <a:off x="507705" y="4713149"/>
            <a:ext cx="1750613" cy="1936594"/>
          </a:xfrm>
          <a:custGeom>
            <a:avLst/>
            <a:gdLst>
              <a:gd name="connsiteX0" fmla="*/ 1884679 w 1884679"/>
              <a:gd name="connsiteY0" fmla="*/ 1 h 1571626"/>
              <a:gd name="connsiteX1" fmla="*/ 1884679 w 1884679"/>
              <a:gd name="connsiteY1" fmla="*/ 703473 h 1571626"/>
              <a:gd name="connsiteX2" fmla="*/ 1880839 w 1884679"/>
              <a:gd name="connsiteY2" fmla="*/ 709614 h 1571626"/>
              <a:gd name="connsiteX3" fmla="*/ 1877663 w 1884679"/>
              <a:gd name="connsiteY3" fmla="*/ 714376 h 1571626"/>
              <a:gd name="connsiteX4" fmla="*/ 1873692 w 1884679"/>
              <a:gd name="connsiteY4" fmla="*/ 717551 h 1571626"/>
              <a:gd name="connsiteX5" fmla="*/ 1868928 w 1884679"/>
              <a:gd name="connsiteY5" fmla="*/ 719932 h 1571626"/>
              <a:gd name="connsiteX6" fmla="*/ 1864351 w 1884679"/>
              <a:gd name="connsiteY6" fmla="*/ 721457 h 1571626"/>
              <a:gd name="connsiteX7" fmla="*/ 1858485 w 1884679"/>
              <a:gd name="connsiteY7" fmla="*/ 719502 h 1571626"/>
              <a:gd name="connsiteX8" fmla="*/ 1851341 w 1884679"/>
              <a:gd name="connsiteY8" fmla="*/ 714737 h 1571626"/>
              <a:gd name="connsiteX9" fmla="*/ 1844991 w 1884679"/>
              <a:gd name="connsiteY9" fmla="*/ 708384 h 1571626"/>
              <a:gd name="connsiteX10" fmla="*/ 1838641 w 1884679"/>
              <a:gd name="connsiteY10" fmla="*/ 700442 h 1571626"/>
              <a:gd name="connsiteX11" fmla="*/ 1833085 w 1884679"/>
              <a:gd name="connsiteY11" fmla="*/ 689324 h 1571626"/>
              <a:gd name="connsiteX12" fmla="*/ 1826735 w 1884679"/>
              <a:gd name="connsiteY12" fmla="*/ 679000 h 1571626"/>
              <a:gd name="connsiteX13" fmla="*/ 1819591 w 1884679"/>
              <a:gd name="connsiteY13" fmla="*/ 669470 h 1571626"/>
              <a:gd name="connsiteX14" fmla="*/ 1809273 w 1884679"/>
              <a:gd name="connsiteY14" fmla="*/ 657558 h 1571626"/>
              <a:gd name="connsiteX15" fmla="*/ 1802129 w 1884679"/>
              <a:gd name="connsiteY15" fmla="*/ 651999 h 1571626"/>
              <a:gd name="connsiteX16" fmla="*/ 1794985 w 1884679"/>
              <a:gd name="connsiteY16" fmla="*/ 645646 h 1571626"/>
              <a:gd name="connsiteX17" fmla="*/ 1785460 w 1884679"/>
              <a:gd name="connsiteY17" fmla="*/ 640881 h 1571626"/>
              <a:gd name="connsiteX18" fmla="*/ 1776729 w 1884679"/>
              <a:gd name="connsiteY18" fmla="*/ 635322 h 1571626"/>
              <a:gd name="connsiteX19" fmla="*/ 1766410 w 1884679"/>
              <a:gd name="connsiteY19" fmla="*/ 631351 h 1571626"/>
              <a:gd name="connsiteX20" fmla="*/ 1755298 w 1884679"/>
              <a:gd name="connsiteY20" fmla="*/ 628175 h 1571626"/>
              <a:gd name="connsiteX21" fmla="*/ 1743391 w 1884679"/>
              <a:gd name="connsiteY21" fmla="*/ 626586 h 1571626"/>
              <a:gd name="connsiteX22" fmla="*/ 1730691 w 1884679"/>
              <a:gd name="connsiteY22" fmla="*/ 625792 h 1571626"/>
              <a:gd name="connsiteX23" fmla="*/ 1728300 w 1884679"/>
              <a:gd name="connsiteY23" fmla="*/ 625917 h 1571626"/>
              <a:gd name="connsiteX24" fmla="*/ 1721228 w 1884679"/>
              <a:gd name="connsiteY24" fmla="*/ 625476 h 1571626"/>
              <a:gd name="connsiteX25" fmla="*/ 1706935 w 1884679"/>
              <a:gd name="connsiteY25" fmla="*/ 626270 h 1571626"/>
              <a:gd name="connsiteX26" fmla="*/ 1691053 w 1884679"/>
              <a:gd name="connsiteY26" fmla="*/ 628651 h 1571626"/>
              <a:gd name="connsiteX27" fmla="*/ 1678348 w 1884679"/>
              <a:gd name="connsiteY27" fmla="*/ 633414 h 1571626"/>
              <a:gd name="connsiteX28" fmla="*/ 1664054 w 1884679"/>
              <a:gd name="connsiteY28" fmla="*/ 639764 h 1571626"/>
              <a:gd name="connsiteX29" fmla="*/ 1650555 w 1884679"/>
              <a:gd name="connsiteY29" fmla="*/ 647701 h 1571626"/>
              <a:gd name="connsiteX30" fmla="*/ 1638644 w 1884679"/>
              <a:gd name="connsiteY30" fmla="*/ 656432 h 1571626"/>
              <a:gd name="connsiteX31" fmla="*/ 1628320 w 1884679"/>
              <a:gd name="connsiteY31" fmla="*/ 666751 h 1571626"/>
              <a:gd name="connsiteX32" fmla="*/ 1617997 w 1884679"/>
              <a:gd name="connsiteY32" fmla="*/ 678657 h 1571626"/>
              <a:gd name="connsiteX33" fmla="*/ 1608468 w 1884679"/>
              <a:gd name="connsiteY33" fmla="*/ 691357 h 1571626"/>
              <a:gd name="connsiteX34" fmla="*/ 1599733 w 1884679"/>
              <a:gd name="connsiteY34" fmla="*/ 705645 h 1571626"/>
              <a:gd name="connsiteX35" fmla="*/ 1592587 w 1884679"/>
              <a:gd name="connsiteY35" fmla="*/ 719932 h 1571626"/>
              <a:gd name="connsiteX36" fmla="*/ 1587028 w 1884679"/>
              <a:gd name="connsiteY36" fmla="*/ 736601 h 1571626"/>
              <a:gd name="connsiteX37" fmla="*/ 1580675 w 1884679"/>
              <a:gd name="connsiteY37" fmla="*/ 753270 h 1571626"/>
              <a:gd name="connsiteX38" fmla="*/ 1577499 w 1884679"/>
              <a:gd name="connsiteY38" fmla="*/ 771526 h 1571626"/>
              <a:gd name="connsiteX39" fmla="*/ 1575911 w 1884679"/>
              <a:gd name="connsiteY39" fmla="*/ 788989 h 1571626"/>
              <a:gd name="connsiteX40" fmla="*/ 1575117 w 1884679"/>
              <a:gd name="connsiteY40" fmla="*/ 808039 h 1571626"/>
              <a:gd name="connsiteX41" fmla="*/ 1575911 w 1884679"/>
              <a:gd name="connsiteY41" fmla="*/ 825501 h 1571626"/>
              <a:gd name="connsiteX42" fmla="*/ 1577499 w 1884679"/>
              <a:gd name="connsiteY42" fmla="*/ 843757 h 1571626"/>
              <a:gd name="connsiteX43" fmla="*/ 1580675 w 1884679"/>
              <a:gd name="connsiteY43" fmla="*/ 861220 h 1571626"/>
              <a:gd name="connsiteX44" fmla="*/ 1587028 w 1884679"/>
              <a:gd name="connsiteY44" fmla="*/ 877889 h 1571626"/>
              <a:gd name="connsiteX45" fmla="*/ 1592587 w 1884679"/>
              <a:gd name="connsiteY45" fmla="*/ 894557 h 1571626"/>
              <a:gd name="connsiteX46" fmla="*/ 1599733 w 1884679"/>
              <a:gd name="connsiteY46" fmla="*/ 908845 h 1571626"/>
              <a:gd name="connsiteX47" fmla="*/ 1608468 w 1884679"/>
              <a:gd name="connsiteY47" fmla="*/ 923132 h 1571626"/>
              <a:gd name="connsiteX48" fmla="*/ 1617997 w 1884679"/>
              <a:gd name="connsiteY48" fmla="*/ 935832 h 1571626"/>
              <a:gd name="connsiteX49" fmla="*/ 1628320 w 1884679"/>
              <a:gd name="connsiteY49" fmla="*/ 947739 h 1571626"/>
              <a:gd name="connsiteX50" fmla="*/ 1638644 w 1884679"/>
              <a:gd name="connsiteY50" fmla="*/ 958851 h 1571626"/>
              <a:gd name="connsiteX51" fmla="*/ 1650555 w 1884679"/>
              <a:gd name="connsiteY51" fmla="*/ 966789 h 1571626"/>
              <a:gd name="connsiteX52" fmla="*/ 1664054 w 1884679"/>
              <a:gd name="connsiteY52" fmla="*/ 975520 h 1571626"/>
              <a:gd name="connsiteX53" fmla="*/ 1678348 w 1884679"/>
              <a:gd name="connsiteY53" fmla="*/ 981076 h 1571626"/>
              <a:gd name="connsiteX54" fmla="*/ 1691053 w 1884679"/>
              <a:gd name="connsiteY54" fmla="*/ 985839 h 1571626"/>
              <a:gd name="connsiteX55" fmla="*/ 1706935 w 1884679"/>
              <a:gd name="connsiteY55" fmla="*/ 988220 h 1571626"/>
              <a:gd name="connsiteX56" fmla="*/ 1721228 w 1884679"/>
              <a:gd name="connsiteY56" fmla="*/ 989807 h 1571626"/>
              <a:gd name="connsiteX57" fmla="*/ 1723383 w 1884679"/>
              <a:gd name="connsiteY57" fmla="*/ 989538 h 1571626"/>
              <a:gd name="connsiteX58" fmla="*/ 1730691 w 1884679"/>
              <a:gd name="connsiteY58" fmla="*/ 990308 h 1571626"/>
              <a:gd name="connsiteX59" fmla="*/ 1743391 w 1884679"/>
              <a:gd name="connsiteY59" fmla="*/ 988719 h 1571626"/>
              <a:gd name="connsiteX60" fmla="*/ 1755298 w 1884679"/>
              <a:gd name="connsiteY60" fmla="*/ 987925 h 1571626"/>
              <a:gd name="connsiteX61" fmla="*/ 1766410 w 1884679"/>
              <a:gd name="connsiteY61" fmla="*/ 983954 h 1571626"/>
              <a:gd name="connsiteX62" fmla="*/ 1776729 w 1884679"/>
              <a:gd name="connsiteY62" fmla="*/ 980778 h 1571626"/>
              <a:gd name="connsiteX63" fmla="*/ 1785460 w 1884679"/>
              <a:gd name="connsiteY63" fmla="*/ 976013 h 1571626"/>
              <a:gd name="connsiteX64" fmla="*/ 1794985 w 1884679"/>
              <a:gd name="connsiteY64" fmla="*/ 969660 h 1571626"/>
              <a:gd name="connsiteX65" fmla="*/ 1802129 w 1884679"/>
              <a:gd name="connsiteY65" fmla="*/ 964101 h 1571626"/>
              <a:gd name="connsiteX66" fmla="*/ 1809273 w 1884679"/>
              <a:gd name="connsiteY66" fmla="*/ 957747 h 1571626"/>
              <a:gd name="connsiteX67" fmla="*/ 1819591 w 1884679"/>
              <a:gd name="connsiteY67" fmla="*/ 945835 h 1571626"/>
              <a:gd name="connsiteX68" fmla="*/ 1826735 w 1884679"/>
              <a:gd name="connsiteY68" fmla="*/ 936305 h 1571626"/>
              <a:gd name="connsiteX69" fmla="*/ 1833085 w 1884679"/>
              <a:gd name="connsiteY69" fmla="*/ 925981 h 1571626"/>
              <a:gd name="connsiteX70" fmla="*/ 1838641 w 1884679"/>
              <a:gd name="connsiteY70" fmla="*/ 914863 h 1571626"/>
              <a:gd name="connsiteX71" fmla="*/ 1844991 w 1884679"/>
              <a:gd name="connsiteY71" fmla="*/ 906922 h 1571626"/>
              <a:gd name="connsiteX72" fmla="*/ 1851341 w 1884679"/>
              <a:gd name="connsiteY72" fmla="*/ 900568 h 1571626"/>
              <a:gd name="connsiteX73" fmla="*/ 1858485 w 1884679"/>
              <a:gd name="connsiteY73" fmla="*/ 895804 h 1571626"/>
              <a:gd name="connsiteX74" fmla="*/ 1865573 w 1884679"/>
              <a:gd name="connsiteY74" fmla="*/ 893439 h 1571626"/>
              <a:gd name="connsiteX75" fmla="*/ 1868928 w 1884679"/>
              <a:gd name="connsiteY75" fmla="*/ 894557 h 1571626"/>
              <a:gd name="connsiteX76" fmla="*/ 1873692 w 1884679"/>
              <a:gd name="connsiteY76" fmla="*/ 896939 h 1571626"/>
              <a:gd name="connsiteX77" fmla="*/ 1877663 w 1884679"/>
              <a:gd name="connsiteY77" fmla="*/ 900114 h 1571626"/>
              <a:gd name="connsiteX78" fmla="*/ 1880839 w 1884679"/>
              <a:gd name="connsiteY78" fmla="*/ 904876 h 1571626"/>
              <a:gd name="connsiteX79" fmla="*/ 1884679 w 1884679"/>
              <a:gd name="connsiteY79" fmla="*/ 911016 h 1571626"/>
              <a:gd name="connsiteX80" fmla="*/ 1884679 w 1884679"/>
              <a:gd name="connsiteY80" fmla="*/ 1571626 h 1571626"/>
              <a:gd name="connsiteX81" fmla="*/ 1177655 w 1884679"/>
              <a:gd name="connsiteY81" fmla="*/ 1571625 h 1571626"/>
              <a:gd name="connsiteX82" fmla="*/ 1175067 w 1884679"/>
              <a:gd name="connsiteY82" fmla="*/ 1569408 h 1571626"/>
              <a:gd name="connsiteX83" fmla="*/ 1171098 w 1884679"/>
              <a:gd name="connsiteY83" fmla="*/ 1562267 h 1571626"/>
              <a:gd name="connsiteX84" fmla="*/ 1171098 w 1884679"/>
              <a:gd name="connsiteY84" fmla="*/ 1555126 h 1571626"/>
              <a:gd name="connsiteX85" fmla="*/ 1172686 w 1884679"/>
              <a:gd name="connsiteY85" fmla="*/ 1547191 h 1571626"/>
              <a:gd name="connsiteX86" fmla="*/ 1175861 w 1884679"/>
              <a:gd name="connsiteY86" fmla="*/ 1540050 h 1571626"/>
              <a:gd name="connsiteX87" fmla="*/ 1183004 w 1884679"/>
              <a:gd name="connsiteY87" fmla="*/ 1531322 h 1571626"/>
              <a:gd name="connsiteX88" fmla="*/ 1191736 w 1884679"/>
              <a:gd name="connsiteY88" fmla="*/ 1524181 h 1571626"/>
              <a:gd name="connsiteX89" fmla="*/ 1203642 w 1884679"/>
              <a:gd name="connsiteY89" fmla="*/ 1518627 h 1571626"/>
              <a:gd name="connsiteX90" fmla="*/ 1213961 w 1884679"/>
              <a:gd name="connsiteY90" fmla="*/ 1512279 h 1571626"/>
              <a:gd name="connsiteX91" fmla="*/ 1223486 w 1884679"/>
              <a:gd name="connsiteY91" fmla="*/ 1504344 h 1571626"/>
              <a:gd name="connsiteX92" fmla="*/ 1235392 w 1884679"/>
              <a:gd name="connsiteY92" fmla="*/ 1493236 h 1571626"/>
              <a:gd name="connsiteX93" fmla="*/ 1241742 w 1884679"/>
              <a:gd name="connsiteY93" fmla="*/ 1486095 h 1571626"/>
              <a:gd name="connsiteX94" fmla="*/ 1247298 w 1884679"/>
              <a:gd name="connsiteY94" fmla="*/ 1478954 h 1571626"/>
              <a:gd name="connsiteX95" fmla="*/ 1252061 w 1884679"/>
              <a:gd name="connsiteY95" fmla="*/ 1471019 h 1571626"/>
              <a:gd name="connsiteX96" fmla="*/ 1256823 w 1884679"/>
              <a:gd name="connsiteY96" fmla="*/ 1461497 h 1571626"/>
              <a:gd name="connsiteX97" fmla="*/ 1261586 w 1884679"/>
              <a:gd name="connsiteY97" fmla="*/ 1451976 h 1571626"/>
              <a:gd name="connsiteX98" fmla="*/ 1265554 w 1884679"/>
              <a:gd name="connsiteY98" fmla="*/ 1440074 h 1571626"/>
              <a:gd name="connsiteX99" fmla="*/ 1266348 w 1884679"/>
              <a:gd name="connsiteY99" fmla="*/ 1428172 h 1571626"/>
              <a:gd name="connsiteX100" fmla="*/ 1267936 w 1884679"/>
              <a:gd name="connsiteY100" fmla="*/ 1415476 h 1571626"/>
              <a:gd name="connsiteX101" fmla="*/ 1266348 w 1884679"/>
              <a:gd name="connsiteY101" fmla="*/ 1401194 h 1571626"/>
              <a:gd name="connsiteX102" fmla="*/ 1263967 w 1884679"/>
              <a:gd name="connsiteY102" fmla="*/ 1385325 h 1571626"/>
              <a:gd name="connsiteX103" fmla="*/ 1259204 w 1884679"/>
              <a:gd name="connsiteY103" fmla="*/ 1371042 h 1571626"/>
              <a:gd name="connsiteX104" fmla="*/ 1253648 w 1884679"/>
              <a:gd name="connsiteY104" fmla="*/ 1358347 h 1571626"/>
              <a:gd name="connsiteX105" fmla="*/ 1244917 w 1884679"/>
              <a:gd name="connsiteY105" fmla="*/ 1344858 h 1571626"/>
              <a:gd name="connsiteX106" fmla="*/ 1236979 w 1884679"/>
              <a:gd name="connsiteY106" fmla="*/ 1333750 h 1571626"/>
              <a:gd name="connsiteX107" fmla="*/ 1225867 w 1884679"/>
              <a:gd name="connsiteY107" fmla="*/ 1322641 h 1571626"/>
              <a:gd name="connsiteX108" fmla="*/ 1213961 w 1884679"/>
              <a:gd name="connsiteY108" fmla="*/ 1312326 h 1571626"/>
              <a:gd name="connsiteX109" fmla="*/ 1201261 w 1884679"/>
              <a:gd name="connsiteY109" fmla="*/ 1302805 h 1571626"/>
              <a:gd name="connsiteX110" fmla="*/ 1186973 w 1884679"/>
              <a:gd name="connsiteY110" fmla="*/ 1294077 h 1571626"/>
              <a:gd name="connsiteX111" fmla="*/ 1172686 w 1884679"/>
              <a:gd name="connsiteY111" fmla="*/ 1286935 h 1571626"/>
              <a:gd name="connsiteX112" fmla="*/ 1156017 w 1884679"/>
              <a:gd name="connsiteY112" fmla="*/ 1281381 h 1571626"/>
              <a:gd name="connsiteX113" fmla="*/ 1139348 w 1884679"/>
              <a:gd name="connsiteY113" fmla="*/ 1275033 h 1571626"/>
              <a:gd name="connsiteX114" fmla="*/ 1133683 w 1884679"/>
              <a:gd name="connsiteY114" fmla="*/ 1274004 h 1571626"/>
              <a:gd name="connsiteX115" fmla="*/ 1129029 w 1884679"/>
              <a:gd name="connsiteY115" fmla="*/ 1272230 h 1571626"/>
              <a:gd name="connsiteX116" fmla="*/ 1111567 w 1884679"/>
              <a:gd name="connsiteY116" fmla="*/ 1269054 h 1571626"/>
              <a:gd name="connsiteX117" fmla="*/ 1093310 w 1884679"/>
              <a:gd name="connsiteY117" fmla="*/ 1266671 h 1571626"/>
              <a:gd name="connsiteX118" fmla="*/ 1074260 w 1884679"/>
              <a:gd name="connsiteY118" fmla="*/ 1266671 h 1571626"/>
              <a:gd name="connsiteX119" fmla="*/ 1056798 w 1884679"/>
              <a:gd name="connsiteY119" fmla="*/ 1266671 h 1571626"/>
              <a:gd name="connsiteX120" fmla="*/ 1037748 w 1884679"/>
              <a:gd name="connsiteY120" fmla="*/ 1269054 h 1571626"/>
              <a:gd name="connsiteX121" fmla="*/ 1021079 w 1884679"/>
              <a:gd name="connsiteY121" fmla="*/ 1272230 h 1571626"/>
              <a:gd name="connsiteX122" fmla="*/ 1003617 w 1884679"/>
              <a:gd name="connsiteY122" fmla="*/ 1278583 h 1571626"/>
              <a:gd name="connsiteX123" fmla="*/ 987742 w 1884679"/>
              <a:gd name="connsiteY123" fmla="*/ 1284142 h 1571626"/>
              <a:gd name="connsiteX124" fmla="*/ 972660 w 1884679"/>
              <a:gd name="connsiteY124" fmla="*/ 1291290 h 1571626"/>
              <a:gd name="connsiteX125" fmla="*/ 959167 w 1884679"/>
              <a:gd name="connsiteY125" fmla="*/ 1300026 h 1571626"/>
              <a:gd name="connsiteX126" fmla="*/ 946467 w 1884679"/>
              <a:gd name="connsiteY126" fmla="*/ 1309555 h 1571626"/>
              <a:gd name="connsiteX127" fmla="*/ 934560 w 1884679"/>
              <a:gd name="connsiteY127" fmla="*/ 1319879 h 1571626"/>
              <a:gd name="connsiteX128" fmla="*/ 923448 w 1884679"/>
              <a:gd name="connsiteY128" fmla="*/ 1330997 h 1571626"/>
              <a:gd name="connsiteX129" fmla="*/ 914717 w 1884679"/>
              <a:gd name="connsiteY129" fmla="*/ 1342116 h 1571626"/>
              <a:gd name="connsiteX130" fmla="*/ 907573 w 1884679"/>
              <a:gd name="connsiteY130" fmla="*/ 1355616 h 1571626"/>
              <a:gd name="connsiteX131" fmla="*/ 901223 w 1884679"/>
              <a:gd name="connsiteY131" fmla="*/ 1368323 h 1571626"/>
              <a:gd name="connsiteX132" fmla="*/ 896460 w 1884679"/>
              <a:gd name="connsiteY132" fmla="*/ 1382617 h 1571626"/>
              <a:gd name="connsiteX133" fmla="*/ 894079 w 1884679"/>
              <a:gd name="connsiteY133" fmla="*/ 1396912 h 1571626"/>
              <a:gd name="connsiteX134" fmla="*/ 893285 w 1884679"/>
              <a:gd name="connsiteY134" fmla="*/ 1412795 h 1571626"/>
              <a:gd name="connsiteX135" fmla="*/ 893285 w 1884679"/>
              <a:gd name="connsiteY135" fmla="*/ 1425501 h 1571626"/>
              <a:gd name="connsiteX136" fmla="*/ 895667 w 1884679"/>
              <a:gd name="connsiteY136" fmla="*/ 1437414 h 1571626"/>
              <a:gd name="connsiteX137" fmla="*/ 898842 w 1884679"/>
              <a:gd name="connsiteY137" fmla="*/ 1449326 h 1571626"/>
              <a:gd name="connsiteX138" fmla="*/ 902810 w 1884679"/>
              <a:gd name="connsiteY138" fmla="*/ 1458856 h 1571626"/>
              <a:gd name="connsiteX139" fmla="*/ 907573 w 1884679"/>
              <a:gd name="connsiteY139" fmla="*/ 1468386 h 1571626"/>
              <a:gd name="connsiteX140" fmla="*/ 913129 w 1884679"/>
              <a:gd name="connsiteY140" fmla="*/ 1476327 h 1571626"/>
              <a:gd name="connsiteX141" fmla="*/ 919479 w 1884679"/>
              <a:gd name="connsiteY141" fmla="*/ 1483474 h 1571626"/>
              <a:gd name="connsiteX142" fmla="*/ 925035 w 1884679"/>
              <a:gd name="connsiteY142" fmla="*/ 1490622 h 1571626"/>
              <a:gd name="connsiteX143" fmla="*/ 935354 w 1884679"/>
              <a:gd name="connsiteY143" fmla="*/ 1501740 h 1571626"/>
              <a:gd name="connsiteX144" fmla="*/ 946467 w 1884679"/>
              <a:gd name="connsiteY144" fmla="*/ 1509681 h 1571626"/>
              <a:gd name="connsiteX145" fmla="*/ 955992 w 1884679"/>
              <a:gd name="connsiteY145" fmla="*/ 1516035 h 1571626"/>
              <a:gd name="connsiteX146" fmla="*/ 967898 w 1884679"/>
              <a:gd name="connsiteY146" fmla="*/ 1521594 h 1571626"/>
              <a:gd name="connsiteX147" fmla="*/ 977423 w 1884679"/>
              <a:gd name="connsiteY147" fmla="*/ 1528741 h 1571626"/>
              <a:gd name="connsiteX148" fmla="*/ 982979 w 1884679"/>
              <a:gd name="connsiteY148" fmla="*/ 1537477 h 1571626"/>
              <a:gd name="connsiteX149" fmla="*/ 987742 w 1884679"/>
              <a:gd name="connsiteY149" fmla="*/ 1544624 h 1571626"/>
              <a:gd name="connsiteX150" fmla="*/ 989329 w 1884679"/>
              <a:gd name="connsiteY150" fmla="*/ 1552566 h 1571626"/>
              <a:gd name="connsiteX151" fmla="*/ 987742 w 1884679"/>
              <a:gd name="connsiteY151" fmla="*/ 1559713 h 1571626"/>
              <a:gd name="connsiteX152" fmla="*/ 984567 w 1884679"/>
              <a:gd name="connsiteY152" fmla="*/ 1566066 h 1571626"/>
              <a:gd name="connsiteX153" fmla="*/ 978217 w 1884679"/>
              <a:gd name="connsiteY153" fmla="*/ 1571625 h 1571626"/>
              <a:gd name="connsiteX154" fmla="*/ 311467 w 1884679"/>
              <a:gd name="connsiteY154" fmla="*/ 1571625 h 1571626"/>
              <a:gd name="connsiteX155" fmla="*/ 311467 w 1884679"/>
              <a:gd name="connsiteY155" fmla="*/ 1571492 h 1571626"/>
              <a:gd name="connsiteX156" fmla="*/ 314642 w 1884679"/>
              <a:gd name="connsiteY156" fmla="*/ 1571492 h 1571626"/>
              <a:gd name="connsiteX157" fmla="*/ 314643 w 1884679"/>
              <a:gd name="connsiteY157" fmla="*/ 935431 h 1571626"/>
              <a:gd name="connsiteX158" fmla="*/ 313848 w 1884679"/>
              <a:gd name="connsiteY158" fmla="*/ 925902 h 1571626"/>
              <a:gd name="connsiteX159" fmla="*/ 312259 w 1884679"/>
              <a:gd name="connsiteY159" fmla="*/ 917167 h 1571626"/>
              <a:gd name="connsiteX160" fmla="*/ 309875 w 1884679"/>
              <a:gd name="connsiteY160" fmla="*/ 910020 h 1571626"/>
              <a:gd name="connsiteX161" fmla="*/ 307492 w 1884679"/>
              <a:gd name="connsiteY161" fmla="*/ 905256 h 1571626"/>
              <a:gd name="connsiteX162" fmla="*/ 304314 w 1884679"/>
              <a:gd name="connsiteY162" fmla="*/ 900491 h 1571626"/>
              <a:gd name="connsiteX163" fmla="*/ 299546 w 1884679"/>
              <a:gd name="connsiteY163" fmla="*/ 897315 h 1571626"/>
              <a:gd name="connsiteX164" fmla="*/ 294779 w 1884679"/>
              <a:gd name="connsiteY164" fmla="*/ 894933 h 1571626"/>
              <a:gd name="connsiteX165" fmla="*/ 290012 w 1884679"/>
              <a:gd name="connsiteY165" fmla="*/ 893344 h 1571626"/>
              <a:gd name="connsiteX166" fmla="*/ 285244 w 1884679"/>
              <a:gd name="connsiteY166" fmla="*/ 893344 h 1571626"/>
              <a:gd name="connsiteX167" fmla="*/ 280477 w 1884679"/>
              <a:gd name="connsiteY167" fmla="*/ 893344 h 1571626"/>
              <a:gd name="connsiteX168" fmla="*/ 280274 w 1884679"/>
              <a:gd name="connsiteY168" fmla="*/ 893420 h 1571626"/>
              <a:gd name="connsiteX169" fmla="*/ 277336 w 1884679"/>
              <a:gd name="connsiteY169" fmla="*/ 893420 h 1571626"/>
              <a:gd name="connsiteX170" fmla="*/ 270986 w 1884679"/>
              <a:gd name="connsiteY170" fmla="*/ 895803 h 1571626"/>
              <a:gd name="connsiteX171" fmla="*/ 266224 w 1884679"/>
              <a:gd name="connsiteY171" fmla="*/ 899773 h 1571626"/>
              <a:gd name="connsiteX172" fmla="*/ 260668 w 1884679"/>
              <a:gd name="connsiteY172" fmla="*/ 904538 h 1571626"/>
              <a:gd name="connsiteX173" fmla="*/ 255905 w 1884679"/>
              <a:gd name="connsiteY173" fmla="*/ 910097 h 1571626"/>
              <a:gd name="connsiteX174" fmla="*/ 251143 w 1884679"/>
              <a:gd name="connsiteY174" fmla="*/ 917245 h 1571626"/>
              <a:gd name="connsiteX175" fmla="*/ 246380 w 1884679"/>
              <a:gd name="connsiteY175" fmla="*/ 925980 h 1571626"/>
              <a:gd name="connsiteX176" fmla="*/ 240030 w 1884679"/>
              <a:gd name="connsiteY176" fmla="*/ 935510 h 1571626"/>
              <a:gd name="connsiteX177" fmla="*/ 232887 w 1884679"/>
              <a:gd name="connsiteY177" fmla="*/ 945834 h 1571626"/>
              <a:gd name="connsiteX178" fmla="*/ 221774 w 1884679"/>
              <a:gd name="connsiteY178" fmla="*/ 957746 h 1571626"/>
              <a:gd name="connsiteX179" fmla="*/ 215424 w 1884679"/>
              <a:gd name="connsiteY179" fmla="*/ 964100 h 1571626"/>
              <a:gd name="connsiteX180" fmla="*/ 207487 w 1884679"/>
              <a:gd name="connsiteY180" fmla="*/ 969659 h 1571626"/>
              <a:gd name="connsiteX181" fmla="*/ 198755 w 1884679"/>
              <a:gd name="connsiteY181" fmla="*/ 974424 h 1571626"/>
              <a:gd name="connsiteX182" fmla="*/ 190818 w 1884679"/>
              <a:gd name="connsiteY182" fmla="*/ 979188 h 1571626"/>
              <a:gd name="connsiteX183" fmla="*/ 179705 w 1884679"/>
              <a:gd name="connsiteY183" fmla="*/ 983953 h 1571626"/>
              <a:gd name="connsiteX184" fmla="*/ 169387 w 1884679"/>
              <a:gd name="connsiteY184" fmla="*/ 986336 h 1571626"/>
              <a:gd name="connsiteX185" fmla="*/ 155893 w 1884679"/>
              <a:gd name="connsiteY185" fmla="*/ 988718 h 1571626"/>
              <a:gd name="connsiteX186" fmla="*/ 145334 w 1884679"/>
              <a:gd name="connsiteY186" fmla="*/ 990128 h 1571626"/>
              <a:gd name="connsiteX187" fmla="*/ 131895 w 1884679"/>
              <a:gd name="connsiteY187" fmla="*/ 988634 h 1571626"/>
              <a:gd name="connsiteX188" fmla="*/ 117593 w 1884679"/>
              <a:gd name="connsiteY188" fmla="*/ 986252 h 1571626"/>
              <a:gd name="connsiteX189" fmla="*/ 103291 w 1884679"/>
              <a:gd name="connsiteY189" fmla="*/ 981488 h 1571626"/>
              <a:gd name="connsiteX190" fmla="*/ 90579 w 1884679"/>
              <a:gd name="connsiteY190" fmla="*/ 975929 h 1571626"/>
              <a:gd name="connsiteX191" fmla="*/ 77071 w 1884679"/>
              <a:gd name="connsiteY191" fmla="*/ 967194 h 1571626"/>
              <a:gd name="connsiteX192" fmla="*/ 65153 w 1884679"/>
              <a:gd name="connsiteY192" fmla="*/ 957665 h 1571626"/>
              <a:gd name="connsiteX193" fmla="*/ 53235 w 1884679"/>
              <a:gd name="connsiteY193" fmla="*/ 948136 h 1571626"/>
              <a:gd name="connsiteX194" fmla="*/ 42905 w 1884679"/>
              <a:gd name="connsiteY194" fmla="*/ 936225 h 1571626"/>
              <a:gd name="connsiteX195" fmla="*/ 33371 w 1884679"/>
              <a:gd name="connsiteY195" fmla="*/ 923520 h 1571626"/>
              <a:gd name="connsiteX196" fmla="*/ 24631 w 1884679"/>
              <a:gd name="connsiteY196" fmla="*/ 909226 h 1571626"/>
              <a:gd name="connsiteX197" fmla="*/ 17480 w 1884679"/>
              <a:gd name="connsiteY197" fmla="*/ 893344 h 1571626"/>
              <a:gd name="connsiteX198" fmla="*/ 11918 w 1884679"/>
              <a:gd name="connsiteY198" fmla="*/ 878257 h 1571626"/>
              <a:gd name="connsiteX199" fmla="*/ 7151 w 1884679"/>
              <a:gd name="connsiteY199" fmla="*/ 861581 h 1571626"/>
              <a:gd name="connsiteX200" fmla="*/ 3972 w 1884679"/>
              <a:gd name="connsiteY200" fmla="*/ 844111 h 1571626"/>
              <a:gd name="connsiteX201" fmla="*/ 1589 w 1884679"/>
              <a:gd name="connsiteY201" fmla="*/ 825847 h 1571626"/>
              <a:gd name="connsiteX202" fmla="*/ 0 w 1884679"/>
              <a:gd name="connsiteY202" fmla="*/ 806789 h 1571626"/>
              <a:gd name="connsiteX203" fmla="*/ 1589 w 1884679"/>
              <a:gd name="connsiteY203" fmla="*/ 789319 h 1571626"/>
              <a:gd name="connsiteX204" fmla="*/ 3972 w 1884679"/>
              <a:gd name="connsiteY204" fmla="*/ 770261 h 1571626"/>
              <a:gd name="connsiteX205" fmla="*/ 7151 w 1884679"/>
              <a:gd name="connsiteY205" fmla="*/ 753586 h 1571626"/>
              <a:gd name="connsiteX206" fmla="*/ 11918 w 1884679"/>
              <a:gd name="connsiteY206" fmla="*/ 736910 h 1571626"/>
              <a:gd name="connsiteX207" fmla="*/ 17480 w 1884679"/>
              <a:gd name="connsiteY207" fmla="*/ 720234 h 1571626"/>
              <a:gd name="connsiteX208" fmla="*/ 24631 w 1884679"/>
              <a:gd name="connsiteY208" fmla="*/ 705146 h 1571626"/>
              <a:gd name="connsiteX209" fmla="*/ 33371 w 1884679"/>
              <a:gd name="connsiteY209" fmla="*/ 691647 h 1571626"/>
              <a:gd name="connsiteX210" fmla="*/ 42905 w 1884679"/>
              <a:gd name="connsiteY210" fmla="*/ 678942 h 1571626"/>
              <a:gd name="connsiteX211" fmla="*/ 53235 w 1884679"/>
              <a:gd name="connsiteY211" fmla="*/ 667030 h 1571626"/>
              <a:gd name="connsiteX212" fmla="*/ 65153 w 1884679"/>
              <a:gd name="connsiteY212" fmla="*/ 656707 h 1571626"/>
              <a:gd name="connsiteX213" fmla="*/ 77071 w 1884679"/>
              <a:gd name="connsiteY213" fmla="*/ 647178 h 1571626"/>
              <a:gd name="connsiteX214" fmla="*/ 90579 w 1884679"/>
              <a:gd name="connsiteY214" fmla="*/ 640032 h 1571626"/>
              <a:gd name="connsiteX215" fmla="*/ 103291 w 1884679"/>
              <a:gd name="connsiteY215" fmla="*/ 633679 h 1571626"/>
              <a:gd name="connsiteX216" fmla="*/ 117593 w 1884679"/>
              <a:gd name="connsiteY216" fmla="*/ 628914 h 1571626"/>
              <a:gd name="connsiteX217" fmla="*/ 131895 w 1884679"/>
              <a:gd name="connsiteY217" fmla="*/ 626532 h 1571626"/>
              <a:gd name="connsiteX218" fmla="*/ 145242 w 1884679"/>
              <a:gd name="connsiteY218" fmla="*/ 625791 h 1571626"/>
              <a:gd name="connsiteX219" fmla="*/ 155893 w 1884679"/>
              <a:gd name="connsiteY219" fmla="*/ 625791 h 1571626"/>
              <a:gd name="connsiteX220" fmla="*/ 169387 w 1884679"/>
              <a:gd name="connsiteY220" fmla="*/ 628174 h 1571626"/>
              <a:gd name="connsiteX221" fmla="*/ 179705 w 1884679"/>
              <a:gd name="connsiteY221" fmla="*/ 631350 h 1571626"/>
              <a:gd name="connsiteX222" fmla="*/ 190818 w 1884679"/>
              <a:gd name="connsiteY222" fmla="*/ 635321 h 1571626"/>
              <a:gd name="connsiteX223" fmla="*/ 198755 w 1884679"/>
              <a:gd name="connsiteY223" fmla="*/ 640086 h 1571626"/>
              <a:gd name="connsiteX224" fmla="*/ 207487 w 1884679"/>
              <a:gd name="connsiteY224" fmla="*/ 645645 h 1571626"/>
              <a:gd name="connsiteX225" fmla="*/ 215424 w 1884679"/>
              <a:gd name="connsiteY225" fmla="*/ 651998 h 1571626"/>
              <a:gd name="connsiteX226" fmla="*/ 221774 w 1884679"/>
              <a:gd name="connsiteY226" fmla="*/ 657557 h 1571626"/>
              <a:gd name="connsiteX227" fmla="*/ 232887 w 1884679"/>
              <a:gd name="connsiteY227" fmla="*/ 669469 h 1571626"/>
              <a:gd name="connsiteX228" fmla="*/ 240030 w 1884679"/>
              <a:gd name="connsiteY228" fmla="*/ 678999 h 1571626"/>
              <a:gd name="connsiteX229" fmla="*/ 246380 w 1884679"/>
              <a:gd name="connsiteY229" fmla="*/ 689323 h 1571626"/>
              <a:gd name="connsiteX230" fmla="*/ 251143 w 1884679"/>
              <a:gd name="connsiteY230" fmla="*/ 696471 h 1571626"/>
              <a:gd name="connsiteX231" fmla="*/ 255905 w 1884679"/>
              <a:gd name="connsiteY231" fmla="*/ 703618 h 1571626"/>
              <a:gd name="connsiteX232" fmla="*/ 260668 w 1884679"/>
              <a:gd name="connsiteY232" fmla="*/ 709971 h 1571626"/>
              <a:gd name="connsiteX233" fmla="*/ 266224 w 1884679"/>
              <a:gd name="connsiteY233" fmla="*/ 714736 h 1571626"/>
              <a:gd name="connsiteX234" fmla="*/ 270986 w 1884679"/>
              <a:gd name="connsiteY234" fmla="*/ 717913 h 1571626"/>
              <a:gd name="connsiteX235" fmla="*/ 277336 w 1884679"/>
              <a:gd name="connsiteY235" fmla="*/ 720295 h 1571626"/>
              <a:gd name="connsiteX236" fmla="*/ 282099 w 1884679"/>
              <a:gd name="connsiteY236" fmla="*/ 721883 h 1571626"/>
              <a:gd name="connsiteX237" fmla="*/ 286861 w 1884679"/>
              <a:gd name="connsiteY237" fmla="*/ 721883 h 1571626"/>
              <a:gd name="connsiteX238" fmla="*/ 287074 w 1884679"/>
              <a:gd name="connsiteY238" fmla="*/ 721822 h 1571626"/>
              <a:gd name="connsiteX239" fmla="*/ 290012 w 1884679"/>
              <a:gd name="connsiteY239" fmla="*/ 721822 h 1571626"/>
              <a:gd name="connsiteX240" fmla="*/ 294779 w 1884679"/>
              <a:gd name="connsiteY240" fmla="*/ 720234 h 1571626"/>
              <a:gd name="connsiteX241" fmla="*/ 299546 w 1884679"/>
              <a:gd name="connsiteY241" fmla="*/ 717852 h 1571626"/>
              <a:gd name="connsiteX242" fmla="*/ 304314 w 1884679"/>
              <a:gd name="connsiteY242" fmla="*/ 714675 h 1571626"/>
              <a:gd name="connsiteX243" fmla="*/ 307492 w 1884679"/>
              <a:gd name="connsiteY243" fmla="*/ 709911 h 1571626"/>
              <a:gd name="connsiteX244" fmla="*/ 309875 w 1884679"/>
              <a:gd name="connsiteY244" fmla="*/ 703558 h 1571626"/>
              <a:gd name="connsiteX245" fmla="*/ 312259 w 1884679"/>
              <a:gd name="connsiteY245" fmla="*/ 696412 h 1571626"/>
              <a:gd name="connsiteX246" fmla="*/ 313848 w 1884679"/>
              <a:gd name="connsiteY246" fmla="*/ 688471 h 1571626"/>
              <a:gd name="connsiteX247" fmla="*/ 314643 w 1884679"/>
              <a:gd name="connsiteY247" fmla="*/ 679736 h 1571626"/>
              <a:gd name="connsiteX248" fmla="*/ 314643 w 1884679"/>
              <a:gd name="connsiteY248" fmla="*/ 0 h 1571626"/>
              <a:gd name="connsiteX249" fmla="*/ 1884679 w 1884679"/>
              <a:gd name="connsiteY249" fmla="*/ 1 h 1571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884679" h="1571626">
                <a:moveTo>
                  <a:pt x="1884679" y="1"/>
                </a:moveTo>
                <a:lnTo>
                  <a:pt x="1884679" y="703473"/>
                </a:lnTo>
                <a:lnTo>
                  <a:pt x="1880839" y="709614"/>
                </a:lnTo>
                <a:lnTo>
                  <a:pt x="1877663" y="714376"/>
                </a:lnTo>
                <a:lnTo>
                  <a:pt x="1873692" y="717551"/>
                </a:lnTo>
                <a:lnTo>
                  <a:pt x="1868928" y="719932"/>
                </a:lnTo>
                <a:lnTo>
                  <a:pt x="1864351" y="721457"/>
                </a:lnTo>
                <a:lnTo>
                  <a:pt x="1858485" y="719502"/>
                </a:lnTo>
                <a:lnTo>
                  <a:pt x="1851341" y="714737"/>
                </a:lnTo>
                <a:lnTo>
                  <a:pt x="1844991" y="708384"/>
                </a:lnTo>
                <a:lnTo>
                  <a:pt x="1838641" y="700442"/>
                </a:lnTo>
                <a:lnTo>
                  <a:pt x="1833085" y="689324"/>
                </a:lnTo>
                <a:lnTo>
                  <a:pt x="1826735" y="679000"/>
                </a:lnTo>
                <a:lnTo>
                  <a:pt x="1819591" y="669470"/>
                </a:lnTo>
                <a:lnTo>
                  <a:pt x="1809273" y="657558"/>
                </a:lnTo>
                <a:lnTo>
                  <a:pt x="1802129" y="651999"/>
                </a:lnTo>
                <a:lnTo>
                  <a:pt x="1794985" y="645646"/>
                </a:lnTo>
                <a:lnTo>
                  <a:pt x="1785460" y="640881"/>
                </a:lnTo>
                <a:lnTo>
                  <a:pt x="1776729" y="635322"/>
                </a:lnTo>
                <a:lnTo>
                  <a:pt x="1766410" y="631351"/>
                </a:lnTo>
                <a:lnTo>
                  <a:pt x="1755298" y="628175"/>
                </a:lnTo>
                <a:lnTo>
                  <a:pt x="1743391" y="626586"/>
                </a:lnTo>
                <a:lnTo>
                  <a:pt x="1730691" y="625792"/>
                </a:lnTo>
                <a:lnTo>
                  <a:pt x="1728300" y="625917"/>
                </a:lnTo>
                <a:lnTo>
                  <a:pt x="1721228" y="625476"/>
                </a:lnTo>
                <a:lnTo>
                  <a:pt x="1706935" y="626270"/>
                </a:lnTo>
                <a:lnTo>
                  <a:pt x="1691053" y="628651"/>
                </a:lnTo>
                <a:lnTo>
                  <a:pt x="1678348" y="633414"/>
                </a:lnTo>
                <a:lnTo>
                  <a:pt x="1664054" y="639764"/>
                </a:lnTo>
                <a:lnTo>
                  <a:pt x="1650555" y="647701"/>
                </a:lnTo>
                <a:lnTo>
                  <a:pt x="1638644" y="656432"/>
                </a:lnTo>
                <a:lnTo>
                  <a:pt x="1628320" y="666751"/>
                </a:lnTo>
                <a:lnTo>
                  <a:pt x="1617997" y="678657"/>
                </a:lnTo>
                <a:lnTo>
                  <a:pt x="1608468" y="691357"/>
                </a:lnTo>
                <a:lnTo>
                  <a:pt x="1599733" y="705645"/>
                </a:lnTo>
                <a:lnTo>
                  <a:pt x="1592587" y="719932"/>
                </a:lnTo>
                <a:lnTo>
                  <a:pt x="1587028" y="736601"/>
                </a:lnTo>
                <a:lnTo>
                  <a:pt x="1580675" y="753270"/>
                </a:lnTo>
                <a:lnTo>
                  <a:pt x="1577499" y="771526"/>
                </a:lnTo>
                <a:lnTo>
                  <a:pt x="1575911" y="788989"/>
                </a:lnTo>
                <a:lnTo>
                  <a:pt x="1575117" y="808039"/>
                </a:lnTo>
                <a:lnTo>
                  <a:pt x="1575911" y="825501"/>
                </a:lnTo>
                <a:lnTo>
                  <a:pt x="1577499" y="843757"/>
                </a:lnTo>
                <a:lnTo>
                  <a:pt x="1580675" y="861220"/>
                </a:lnTo>
                <a:lnTo>
                  <a:pt x="1587028" y="877889"/>
                </a:lnTo>
                <a:lnTo>
                  <a:pt x="1592587" y="894557"/>
                </a:lnTo>
                <a:lnTo>
                  <a:pt x="1599733" y="908845"/>
                </a:lnTo>
                <a:lnTo>
                  <a:pt x="1608468" y="923132"/>
                </a:lnTo>
                <a:lnTo>
                  <a:pt x="1617997" y="935832"/>
                </a:lnTo>
                <a:lnTo>
                  <a:pt x="1628320" y="947739"/>
                </a:lnTo>
                <a:lnTo>
                  <a:pt x="1638644" y="958851"/>
                </a:lnTo>
                <a:lnTo>
                  <a:pt x="1650555" y="966789"/>
                </a:lnTo>
                <a:lnTo>
                  <a:pt x="1664054" y="975520"/>
                </a:lnTo>
                <a:lnTo>
                  <a:pt x="1678348" y="981076"/>
                </a:lnTo>
                <a:lnTo>
                  <a:pt x="1691053" y="985839"/>
                </a:lnTo>
                <a:lnTo>
                  <a:pt x="1706935" y="988220"/>
                </a:lnTo>
                <a:lnTo>
                  <a:pt x="1721228" y="989807"/>
                </a:lnTo>
                <a:lnTo>
                  <a:pt x="1723383" y="989538"/>
                </a:lnTo>
                <a:lnTo>
                  <a:pt x="1730691" y="990308"/>
                </a:lnTo>
                <a:lnTo>
                  <a:pt x="1743391" y="988719"/>
                </a:lnTo>
                <a:lnTo>
                  <a:pt x="1755298" y="987925"/>
                </a:lnTo>
                <a:lnTo>
                  <a:pt x="1766410" y="983954"/>
                </a:lnTo>
                <a:lnTo>
                  <a:pt x="1776729" y="980778"/>
                </a:lnTo>
                <a:lnTo>
                  <a:pt x="1785460" y="976013"/>
                </a:lnTo>
                <a:lnTo>
                  <a:pt x="1794985" y="969660"/>
                </a:lnTo>
                <a:lnTo>
                  <a:pt x="1802129" y="964101"/>
                </a:lnTo>
                <a:lnTo>
                  <a:pt x="1809273" y="957747"/>
                </a:lnTo>
                <a:lnTo>
                  <a:pt x="1819591" y="945835"/>
                </a:lnTo>
                <a:lnTo>
                  <a:pt x="1826735" y="936305"/>
                </a:lnTo>
                <a:lnTo>
                  <a:pt x="1833085" y="925981"/>
                </a:lnTo>
                <a:lnTo>
                  <a:pt x="1838641" y="914863"/>
                </a:lnTo>
                <a:lnTo>
                  <a:pt x="1844991" y="906922"/>
                </a:lnTo>
                <a:lnTo>
                  <a:pt x="1851341" y="900568"/>
                </a:lnTo>
                <a:lnTo>
                  <a:pt x="1858485" y="895804"/>
                </a:lnTo>
                <a:lnTo>
                  <a:pt x="1865573" y="893439"/>
                </a:lnTo>
                <a:lnTo>
                  <a:pt x="1868928" y="894557"/>
                </a:lnTo>
                <a:lnTo>
                  <a:pt x="1873692" y="896939"/>
                </a:lnTo>
                <a:lnTo>
                  <a:pt x="1877663" y="900114"/>
                </a:lnTo>
                <a:lnTo>
                  <a:pt x="1880839" y="904876"/>
                </a:lnTo>
                <a:lnTo>
                  <a:pt x="1884679" y="911016"/>
                </a:lnTo>
                <a:lnTo>
                  <a:pt x="1884679" y="1571626"/>
                </a:lnTo>
                <a:lnTo>
                  <a:pt x="1177655" y="1571625"/>
                </a:lnTo>
                <a:lnTo>
                  <a:pt x="1175067" y="1569408"/>
                </a:lnTo>
                <a:lnTo>
                  <a:pt x="1171098" y="1562267"/>
                </a:lnTo>
                <a:lnTo>
                  <a:pt x="1171098" y="1555126"/>
                </a:lnTo>
                <a:lnTo>
                  <a:pt x="1172686" y="1547191"/>
                </a:lnTo>
                <a:lnTo>
                  <a:pt x="1175861" y="1540050"/>
                </a:lnTo>
                <a:lnTo>
                  <a:pt x="1183004" y="1531322"/>
                </a:lnTo>
                <a:lnTo>
                  <a:pt x="1191736" y="1524181"/>
                </a:lnTo>
                <a:lnTo>
                  <a:pt x="1203642" y="1518627"/>
                </a:lnTo>
                <a:lnTo>
                  <a:pt x="1213961" y="1512279"/>
                </a:lnTo>
                <a:lnTo>
                  <a:pt x="1223486" y="1504344"/>
                </a:lnTo>
                <a:lnTo>
                  <a:pt x="1235392" y="1493236"/>
                </a:lnTo>
                <a:lnTo>
                  <a:pt x="1241742" y="1486095"/>
                </a:lnTo>
                <a:lnTo>
                  <a:pt x="1247298" y="1478954"/>
                </a:lnTo>
                <a:lnTo>
                  <a:pt x="1252061" y="1471019"/>
                </a:lnTo>
                <a:lnTo>
                  <a:pt x="1256823" y="1461497"/>
                </a:lnTo>
                <a:lnTo>
                  <a:pt x="1261586" y="1451976"/>
                </a:lnTo>
                <a:lnTo>
                  <a:pt x="1265554" y="1440074"/>
                </a:lnTo>
                <a:lnTo>
                  <a:pt x="1266348" y="1428172"/>
                </a:lnTo>
                <a:lnTo>
                  <a:pt x="1267936" y="1415476"/>
                </a:lnTo>
                <a:lnTo>
                  <a:pt x="1266348" y="1401194"/>
                </a:lnTo>
                <a:lnTo>
                  <a:pt x="1263967" y="1385325"/>
                </a:lnTo>
                <a:lnTo>
                  <a:pt x="1259204" y="1371042"/>
                </a:lnTo>
                <a:lnTo>
                  <a:pt x="1253648" y="1358347"/>
                </a:lnTo>
                <a:lnTo>
                  <a:pt x="1244917" y="1344858"/>
                </a:lnTo>
                <a:lnTo>
                  <a:pt x="1236979" y="1333750"/>
                </a:lnTo>
                <a:lnTo>
                  <a:pt x="1225867" y="1322641"/>
                </a:lnTo>
                <a:lnTo>
                  <a:pt x="1213961" y="1312326"/>
                </a:lnTo>
                <a:lnTo>
                  <a:pt x="1201261" y="1302805"/>
                </a:lnTo>
                <a:lnTo>
                  <a:pt x="1186973" y="1294077"/>
                </a:lnTo>
                <a:lnTo>
                  <a:pt x="1172686" y="1286935"/>
                </a:lnTo>
                <a:lnTo>
                  <a:pt x="1156017" y="1281381"/>
                </a:lnTo>
                <a:lnTo>
                  <a:pt x="1139348" y="1275033"/>
                </a:lnTo>
                <a:lnTo>
                  <a:pt x="1133683" y="1274004"/>
                </a:lnTo>
                <a:lnTo>
                  <a:pt x="1129029" y="1272230"/>
                </a:lnTo>
                <a:lnTo>
                  <a:pt x="1111567" y="1269054"/>
                </a:lnTo>
                <a:lnTo>
                  <a:pt x="1093310" y="1266671"/>
                </a:lnTo>
                <a:lnTo>
                  <a:pt x="1074260" y="1266671"/>
                </a:lnTo>
                <a:lnTo>
                  <a:pt x="1056798" y="1266671"/>
                </a:lnTo>
                <a:lnTo>
                  <a:pt x="1037748" y="1269054"/>
                </a:lnTo>
                <a:lnTo>
                  <a:pt x="1021079" y="1272230"/>
                </a:lnTo>
                <a:lnTo>
                  <a:pt x="1003617" y="1278583"/>
                </a:lnTo>
                <a:lnTo>
                  <a:pt x="987742" y="1284142"/>
                </a:lnTo>
                <a:lnTo>
                  <a:pt x="972660" y="1291290"/>
                </a:lnTo>
                <a:lnTo>
                  <a:pt x="959167" y="1300026"/>
                </a:lnTo>
                <a:lnTo>
                  <a:pt x="946467" y="1309555"/>
                </a:lnTo>
                <a:lnTo>
                  <a:pt x="934560" y="1319879"/>
                </a:lnTo>
                <a:lnTo>
                  <a:pt x="923448" y="1330997"/>
                </a:lnTo>
                <a:lnTo>
                  <a:pt x="914717" y="1342116"/>
                </a:lnTo>
                <a:lnTo>
                  <a:pt x="907573" y="1355616"/>
                </a:lnTo>
                <a:lnTo>
                  <a:pt x="901223" y="1368323"/>
                </a:lnTo>
                <a:lnTo>
                  <a:pt x="896460" y="1382617"/>
                </a:lnTo>
                <a:lnTo>
                  <a:pt x="894079" y="1396912"/>
                </a:lnTo>
                <a:lnTo>
                  <a:pt x="893285" y="1412795"/>
                </a:lnTo>
                <a:lnTo>
                  <a:pt x="893285" y="1425501"/>
                </a:lnTo>
                <a:lnTo>
                  <a:pt x="895667" y="1437414"/>
                </a:lnTo>
                <a:lnTo>
                  <a:pt x="898842" y="1449326"/>
                </a:lnTo>
                <a:lnTo>
                  <a:pt x="902810" y="1458856"/>
                </a:lnTo>
                <a:lnTo>
                  <a:pt x="907573" y="1468386"/>
                </a:lnTo>
                <a:lnTo>
                  <a:pt x="913129" y="1476327"/>
                </a:lnTo>
                <a:lnTo>
                  <a:pt x="919479" y="1483474"/>
                </a:lnTo>
                <a:lnTo>
                  <a:pt x="925035" y="1490622"/>
                </a:lnTo>
                <a:lnTo>
                  <a:pt x="935354" y="1501740"/>
                </a:lnTo>
                <a:lnTo>
                  <a:pt x="946467" y="1509681"/>
                </a:lnTo>
                <a:lnTo>
                  <a:pt x="955992" y="1516035"/>
                </a:lnTo>
                <a:lnTo>
                  <a:pt x="967898" y="1521594"/>
                </a:lnTo>
                <a:lnTo>
                  <a:pt x="977423" y="1528741"/>
                </a:lnTo>
                <a:lnTo>
                  <a:pt x="982979" y="1537477"/>
                </a:lnTo>
                <a:lnTo>
                  <a:pt x="987742" y="1544624"/>
                </a:lnTo>
                <a:lnTo>
                  <a:pt x="989329" y="1552566"/>
                </a:lnTo>
                <a:lnTo>
                  <a:pt x="987742" y="1559713"/>
                </a:lnTo>
                <a:lnTo>
                  <a:pt x="984567" y="1566066"/>
                </a:lnTo>
                <a:lnTo>
                  <a:pt x="978217" y="1571625"/>
                </a:lnTo>
                <a:lnTo>
                  <a:pt x="311467" y="1571625"/>
                </a:lnTo>
                <a:lnTo>
                  <a:pt x="311467" y="1571492"/>
                </a:lnTo>
                <a:lnTo>
                  <a:pt x="314642" y="1571492"/>
                </a:lnTo>
                <a:lnTo>
                  <a:pt x="314643" y="935431"/>
                </a:lnTo>
                <a:lnTo>
                  <a:pt x="313848" y="925902"/>
                </a:lnTo>
                <a:lnTo>
                  <a:pt x="312259" y="917167"/>
                </a:lnTo>
                <a:lnTo>
                  <a:pt x="309875" y="910020"/>
                </a:lnTo>
                <a:lnTo>
                  <a:pt x="307492" y="905256"/>
                </a:lnTo>
                <a:lnTo>
                  <a:pt x="304314" y="900491"/>
                </a:lnTo>
                <a:lnTo>
                  <a:pt x="299546" y="897315"/>
                </a:lnTo>
                <a:lnTo>
                  <a:pt x="294779" y="894933"/>
                </a:lnTo>
                <a:lnTo>
                  <a:pt x="290012" y="893344"/>
                </a:lnTo>
                <a:lnTo>
                  <a:pt x="285244" y="893344"/>
                </a:lnTo>
                <a:lnTo>
                  <a:pt x="280477" y="893344"/>
                </a:lnTo>
                <a:lnTo>
                  <a:pt x="280274" y="893420"/>
                </a:lnTo>
                <a:lnTo>
                  <a:pt x="277336" y="893420"/>
                </a:lnTo>
                <a:lnTo>
                  <a:pt x="270986" y="895803"/>
                </a:lnTo>
                <a:lnTo>
                  <a:pt x="266224" y="899773"/>
                </a:lnTo>
                <a:lnTo>
                  <a:pt x="260668" y="904538"/>
                </a:lnTo>
                <a:lnTo>
                  <a:pt x="255905" y="910097"/>
                </a:lnTo>
                <a:lnTo>
                  <a:pt x="251143" y="917245"/>
                </a:lnTo>
                <a:lnTo>
                  <a:pt x="246380" y="925980"/>
                </a:lnTo>
                <a:lnTo>
                  <a:pt x="240030" y="935510"/>
                </a:lnTo>
                <a:lnTo>
                  <a:pt x="232887" y="945834"/>
                </a:lnTo>
                <a:lnTo>
                  <a:pt x="221774" y="957746"/>
                </a:lnTo>
                <a:lnTo>
                  <a:pt x="215424" y="964100"/>
                </a:lnTo>
                <a:lnTo>
                  <a:pt x="207487" y="969659"/>
                </a:lnTo>
                <a:lnTo>
                  <a:pt x="198755" y="974424"/>
                </a:lnTo>
                <a:lnTo>
                  <a:pt x="190818" y="979188"/>
                </a:lnTo>
                <a:lnTo>
                  <a:pt x="179705" y="983953"/>
                </a:lnTo>
                <a:lnTo>
                  <a:pt x="169387" y="986336"/>
                </a:lnTo>
                <a:lnTo>
                  <a:pt x="155893" y="988718"/>
                </a:lnTo>
                <a:lnTo>
                  <a:pt x="145334" y="990128"/>
                </a:lnTo>
                <a:lnTo>
                  <a:pt x="131895" y="988634"/>
                </a:lnTo>
                <a:lnTo>
                  <a:pt x="117593" y="986252"/>
                </a:lnTo>
                <a:lnTo>
                  <a:pt x="103291" y="981488"/>
                </a:lnTo>
                <a:lnTo>
                  <a:pt x="90579" y="975929"/>
                </a:lnTo>
                <a:lnTo>
                  <a:pt x="77071" y="967194"/>
                </a:lnTo>
                <a:lnTo>
                  <a:pt x="65153" y="957665"/>
                </a:lnTo>
                <a:lnTo>
                  <a:pt x="53235" y="948136"/>
                </a:lnTo>
                <a:lnTo>
                  <a:pt x="42905" y="936225"/>
                </a:lnTo>
                <a:lnTo>
                  <a:pt x="33371" y="923520"/>
                </a:lnTo>
                <a:lnTo>
                  <a:pt x="24631" y="909226"/>
                </a:lnTo>
                <a:lnTo>
                  <a:pt x="17480" y="893344"/>
                </a:lnTo>
                <a:lnTo>
                  <a:pt x="11918" y="878257"/>
                </a:lnTo>
                <a:lnTo>
                  <a:pt x="7151" y="861581"/>
                </a:lnTo>
                <a:lnTo>
                  <a:pt x="3972" y="844111"/>
                </a:lnTo>
                <a:lnTo>
                  <a:pt x="1589" y="825847"/>
                </a:lnTo>
                <a:lnTo>
                  <a:pt x="0" y="806789"/>
                </a:lnTo>
                <a:lnTo>
                  <a:pt x="1589" y="789319"/>
                </a:lnTo>
                <a:lnTo>
                  <a:pt x="3972" y="770261"/>
                </a:lnTo>
                <a:lnTo>
                  <a:pt x="7151" y="753586"/>
                </a:lnTo>
                <a:lnTo>
                  <a:pt x="11918" y="736910"/>
                </a:lnTo>
                <a:lnTo>
                  <a:pt x="17480" y="720234"/>
                </a:lnTo>
                <a:lnTo>
                  <a:pt x="24631" y="705146"/>
                </a:lnTo>
                <a:lnTo>
                  <a:pt x="33371" y="691647"/>
                </a:lnTo>
                <a:lnTo>
                  <a:pt x="42905" y="678942"/>
                </a:lnTo>
                <a:lnTo>
                  <a:pt x="53235" y="667030"/>
                </a:lnTo>
                <a:lnTo>
                  <a:pt x="65153" y="656707"/>
                </a:lnTo>
                <a:lnTo>
                  <a:pt x="77071" y="647178"/>
                </a:lnTo>
                <a:lnTo>
                  <a:pt x="90579" y="640032"/>
                </a:lnTo>
                <a:lnTo>
                  <a:pt x="103291" y="633679"/>
                </a:lnTo>
                <a:lnTo>
                  <a:pt x="117593" y="628914"/>
                </a:lnTo>
                <a:lnTo>
                  <a:pt x="131895" y="626532"/>
                </a:lnTo>
                <a:lnTo>
                  <a:pt x="145242" y="625791"/>
                </a:lnTo>
                <a:lnTo>
                  <a:pt x="155893" y="625791"/>
                </a:lnTo>
                <a:lnTo>
                  <a:pt x="169387" y="628174"/>
                </a:lnTo>
                <a:lnTo>
                  <a:pt x="179705" y="631350"/>
                </a:lnTo>
                <a:lnTo>
                  <a:pt x="190818" y="635321"/>
                </a:lnTo>
                <a:lnTo>
                  <a:pt x="198755" y="640086"/>
                </a:lnTo>
                <a:lnTo>
                  <a:pt x="207487" y="645645"/>
                </a:lnTo>
                <a:lnTo>
                  <a:pt x="215424" y="651998"/>
                </a:lnTo>
                <a:lnTo>
                  <a:pt x="221774" y="657557"/>
                </a:lnTo>
                <a:lnTo>
                  <a:pt x="232887" y="669469"/>
                </a:lnTo>
                <a:lnTo>
                  <a:pt x="240030" y="678999"/>
                </a:lnTo>
                <a:lnTo>
                  <a:pt x="246380" y="689323"/>
                </a:lnTo>
                <a:lnTo>
                  <a:pt x="251143" y="696471"/>
                </a:lnTo>
                <a:lnTo>
                  <a:pt x="255905" y="703618"/>
                </a:lnTo>
                <a:lnTo>
                  <a:pt x="260668" y="709971"/>
                </a:lnTo>
                <a:lnTo>
                  <a:pt x="266224" y="714736"/>
                </a:lnTo>
                <a:lnTo>
                  <a:pt x="270986" y="717913"/>
                </a:lnTo>
                <a:lnTo>
                  <a:pt x="277336" y="720295"/>
                </a:lnTo>
                <a:lnTo>
                  <a:pt x="282099" y="721883"/>
                </a:lnTo>
                <a:lnTo>
                  <a:pt x="286861" y="721883"/>
                </a:lnTo>
                <a:lnTo>
                  <a:pt x="287074" y="721822"/>
                </a:lnTo>
                <a:lnTo>
                  <a:pt x="290012" y="721822"/>
                </a:lnTo>
                <a:lnTo>
                  <a:pt x="294779" y="720234"/>
                </a:lnTo>
                <a:lnTo>
                  <a:pt x="299546" y="717852"/>
                </a:lnTo>
                <a:lnTo>
                  <a:pt x="304314" y="714675"/>
                </a:lnTo>
                <a:lnTo>
                  <a:pt x="307492" y="709911"/>
                </a:lnTo>
                <a:lnTo>
                  <a:pt x="309875" y="703558"/>
                </a:lnTo>
                <a:lnTo>
                  <a:pt x="312259" y="696412"/>
                </a:lnTo>
                <a:lnTo>
                  <a:pt x="313848" y="688471"/>
                </a:lnTo>
                <a:lnTo>
                  <a:pt x="314643" y="679736"/>
                </a:lnTo>
                <a:lnTo>
                  <a:pt x="314643" y="0"/>
                </a:lnTo>
                <a:lnTo>
                  <a:pt x="1884679" y="1"/>
                </a:lnTo>
                <a:close/>
              </a:path>
            </a:pathLst>
          </a:custGeom>
          <a:ln>
            <a:solidFill>
              <a:schemeClr val="tx1">
                <a:lumMod val="50000"/>
                <a:lumOff val="50000"/>
              </a:schemeClr>
            </a:solidFill>
          </a:ln>
        </p:spPr>
      </p:pic>
      <p:pic>
        <p:nvPicPr>
          <p:cNvPr id="10" name="Picture 9">
            <a:extLst>
              <a:ext uri="{FF2B5EF4-FFF2-40B4-BE49-F238E27FC236}">
                <a16:creationId xmlns:a16="http://schemas.microsoft.com/office/drawing/2014/main" id="{E57F4EBC-811A-4FA0-9C6F-56BD59C157EF}"/>
              </a:ext>
            </a:extLst>
          </p:cNvPr>
          <p:cNvPicPr>
            <a:picLocks noChangeAspect="1"/>
          </p:cNvPicPr>
          <p:nvPr/>
        </p:nvPicPr>
        <p:blipFill rotWithShape="1">
          <a:blip r:embed="rId2"/>
          <a:srcRect l="9351" t="50221" r="56381" b="20191"/>
          <a:stretch/>
        </p:blipFill>
        <p:spPr>
          <a:xfrm>
            <a:off x="9533285" y="448782"/>
            <a:ext cx="1716452" cy="2321904"/>
          </a:xfrm>
          <a:custGeom>
            <a:avLst/>
            <a:gdLst>
              <a:gd name="connsiteX0" fmla="*/ 1847837 w 1847837"/>
              <a:gd name="connsiteY0" fmla="*/ 763738 h 1884362"/>
              <a:gd name="connsiteX1" fmla="*/ 1846249 w 1847837"/>
              <a:gd name="connsiteY1" fmla="*/ 782772 h 1884362"/>
              <a:gd name="connsiteX2" fmla="*/ 1845455 w 1847837"/>
              <a:gd name="connsiteY2" fmla="*/ 800220 h 1884362"/>
              <a:gd name="connsiteX3" fmla="*/ 1840693 w 1847837"/>
              <a:gd name="connsiteY3" fmla="*/ 818460 h 1884362"/>
              <a:gd name="connsiteX4" fmla="*/ 1835930 w 1847837"/>
              <a:gd name="connsiteY4" fmla="*/ 835115 h 1884362"/>
              <a:gd name="connsiteX5" fmla="*/ 1829580 w 1847837"/>
              <a:gd name="connsiteY5" fmla="*/ 850184 h 1884362"/>
              <a:gd name="connsiteX6" fmla="*/ 1822437 w 1847837"/>
              <a:gd name="connsiteY6" fmla="*/ 866045 h 1884362"/>
              <a:gd name="connsiteX7" fmla="*/ 1814499 w 1847837"/>
              <a:gd name="connsiteY7" fmla="*/ 880321 h 1884362"/>
              <a:gd name="connsiteX8" fmla="*/ 1804974 w 1847837"/>
              <a:gd name="connsiteY8" fmla="*/ 893010 h 1884362"/>
              <a:gd name="connsiteX9" fmla="*/ 1794655 w 1847837"/>
              <a:gd name="connsiteY9" fmla="*/ 904906 h 1884362"/>
              <a:gd name="connsiteX10" fmla="*/ 1783543 w 1847837"/>
              <a:gd name="connsiteY10" fmla="*/ 914423 h 1884362"/>
              <a:gd name="connsiteX11" fmla="*/ 1770843 w 1847837"/>
              <a:gd name="connsiteY11" fmla="*/ 923940 h 1884362"/>
              <a:gd name="connsiteX12" fmla="*/ 1758937 w 1847837"/>
              <a:gd name="connsiteY12" fmla="*/ 931078 h 1884362"/>
              <a:gd name="connsiteX13" fmla="*/ 1746897 w 1847837"/>
              <a:gd name="connsiteY13" fmla="*/ 937093 h 1884362"/>
              <a:gd name="connsiteX14" fmla="*/ 1740841 w 1847837"/>
              <a:gd name="connsiteY14" fmla="*/ 939111 h 1884362"/>
              <a:gd name="connsiteX15" fmla="*/ 1738521 w 1847837"/>
              <a:gd name="connsiteY15" fmla="*/ 939656 h 1884362"/>
              <a:gd name="connsiteX16" fmla="*/ 1725599 w 1847837"/>
              <a:gd name="connsiteY16" fmla="*/ 941809 h 1884362"/>
              <a:gd name="connsiteX17" fmla="*/ 1710518 w 1847837"/>
              <a:gd name="connsiteY17" fmla="*/ 943396 h 1884362"/>
              <a:gd name="connsiteX18" fmla="*/ 1697024 w 1847837"/>
              <a:gd name="connsiteY18" fmla="*/ 941809 h 1884362"/>
              <a:gd name="connsiteX19" fmla="*/ 1685912 w 1847837"/>
              <a:gd name="connsiteY19" fmla="*/ 939429 h 1884362"/>
              <a:gd name="connsiteX20" fmla="*/ 1674799 w 1847837"/>
              <a:gd name="connsiteY20" fmla="*/ 937048 h 1884362"/>
              <a:gd name="connsiteX21" fmla="*/ 1664481 w 1847837"/>
              <a:gd name="connsiteY21" fmla="*/ 932288 h 1884362"/>
              <a:gd name="connsiteX22" fmla="*/ 1654956 w 1847837"/>
              <a:gd name="connsiteY22" fmla="*/ 927527 h 1884362"/>
              <a:gd name="connsiteX23" fmla="*/ 1646224 w 1847837"/>
              <a:gd name="connsiteY23" fmla="*/ 922766 h 1884362"/>
              <a:gd name="connsiteX24" fmla="*/ 1639081 w 1847837"/>
              <a:gd name="connsiteY24" fmla="*/ 917212 h 1884362"/>
              <a:gd name="connsiteX25" fmla="*/ 1631937 w 1847837"/>
              <a:gd name="connsiteY25" fmla="*/ 910864 h 1884362"/>
              <a:gd name="connsiteX26" fmla="*/ 1621618 w 1847837"/>
              <a:gd name="connsiteY26" fmla="*/ 898962 h 1884362"/>
              <a:gd name="connsiteX27" fmla="*/ 1614474 w 1847837"/>
              <a:gd name="connsiteY27" fmla="*/ 888647 h 1884362"/>
              <a:gd name="connsiteX28" fmla="*/ 1608124 w 1847837"/>
              <a:gd name="connsiteY28" fmla="*/ 879126 h 1884362"/>
              <a:gd name="connsiteX29" fmla="*/ 1603362 w 1847837"/>
              <a:gd name="connsiteY29" fmla="*/ 871191 h 1884362"/>
              <a:gd name="connsiteX30" fmla="*/ 1598599 w 1847837"/>
              <a:gd name="connsiteY30" fmla="*/ 864050 h 1884362"/>
              <a:gd name="connsiteX31" fmla="*/ 1593043 w 1847837"/>
              <a:gd name="connsiteY31" fmla="*/ 857702 h 1884362"/>
              <a:gd name="connsiteX32" fmla="*/ 1588281 w 1847837"/>
              <a:gd name="connsiteY32" fmla="*/ 852941 h 1884362"/>
              <a:gd name="connsiteX33" fmla="*/ 1581931 w 1847837"/>
              <a:gd name="connsiteY33" fmla="*/ 849767 h 1884362"/>
              <a:gd name="connsiteX34" fmla="*/ 1577168 w 1847837"/>
              <a:gd name="connsiteY34" fmla="*/ 847387 h 1884362"/>
              <a:gd name="connsiteX35" fmla="*/ 1571612 w 1847837"/>
              <a:gd name="connsiteY35" fmla="*/ 847387 h 1884362"/>
              <a:gd name="connsiteX36" fmla="*/ 1566849 w 1847837"/>
              <a:gd name="connsiteY36" fmla="*/ 847387 h 1884362"/>
              <a:gd name="connsiteX37" fmla="*/ 1562087 w 1847837"/>
              <a:gd name="connsiteY37" fmla="*/ 848180 h 1884362"/>
              <a:gd name="connsiteX38" fmla="*/ 1559665 w 1847837"/>
              <a:gd name="connsiteY38" fmla="*/ 849391 h 1884362"/>
              <a:gd name="connsiteX39" fmla="*/ 1558118 w 1847837"/>
              <a:gd name="connsiteY39" fmla="*/ 849391 h 1884362"/>
              <a:gd name="connsiteX40" fmla="*/ 1553355 w 1847837"/>
              <a:gd name="connsiteY40" fmla="*/ 850184 h 1884362"/>
              <a:gd name="connsiteX41" fmla="*/ 1548593 w 1847837"/>
              <a:gd name="connsiteY41" fmla="*/ 852563 h 1884362"/>
              <a:gd name="connsiteX42" fmla="*/ 1545418 w 1847837"/>
              <a:gd name="connsiteY42" fmla="*/ 856528 h 1884362"/>
              <a:gd name="connsiteX43" fmla="*/ 1541449 w 1847837"/>
              <a:gd name="connsiteY43" fmla="*/ 861287 h 1884362"/>
              <a:gd name="connsiteX44" fmla="*/ 1538274 w 1847837"/>
              <a:gd name="connsiteY44" fmla="*/ 866838 h 1884362"/>
              <a:gd name="connsiteX45" fmla="*/ 1535893 w 1847837"/>
              <a:gd name="connsiteY45" fmla="*/ 873976 h 1884362"/>
              <a:gd name="connsiteX46" fmla="*/ 1534305 w 1847837"/>
              <a:gd name="connsiteY46" fmla="*/ 882700 h 1884362"/>
              <a:gd name="connsiteX47" fmla="*/ 1534305 w 1847837"/>
              <a:gd name="connsiteY47" fmla="*/ 892217 h 1884362"/>
              <a:gd name="connsiteX48" fmla="*/ 1534305 w 1847837"/>
              <a:gd name="connsiteY48" fmla="*/ 1569509 h 1884362"/>
              <a:gd name="connsiteX49" fmla="*/ 896924 w 1847837"/>
              <a:gd name="connsiteY49" fmla="*/ 1569509 h 1884362"/>
              <a:gd name="connsiteX50" fmla="*/ 888987 w 1847837"/>
              <a:gd name="connsiteY50" fmla="*/ 1571095 h 1884362"/>
              <a:gd name="connsiteX51" fmla="*/ 881049 w 1847837"/>
              <a:gd name="connsiteY51" fmla="*/ 1571888 h 1884362"/>
              <a:gd name="connsiteX52" fmla="*/ 873905 w 1847837"/>
              <a:gd name="connsiteY52" fmla="*/ 1574267 h 1884362"/>
              <a:gd name="connsiteX53" fmla="*/ 867555 w 1847837"/>
              <a:gd name="connsiteY53" fmla="*/ 1576647 h 1884362"/>
              <a:gd name="connsiteX54" fmla="*/ 862793 w 1847837"/>
              <a:gd name="connsiteY54" fmla="*/ 1580612 h 1884362"/>
              <a:gd name="connsiteX55" fmla="*/ 859618 w 1847837"/>
              <a:gd name="connsiteY55" fmla="*/ 1585370 h 1884362"/>
              <a:gd name="connsiteX56" fmla="*/ 857237 w 1847837"/>
              <a:gd name="connsiteY56" fmla="*/ 1588543 h 1884362"/>
              <a:gd name="connsiteX57" fmla="*/ 855649 w 1847837"/>
              <a:gd name="connsiteY57" fmla="*/ 1593301 h 1884362"/>
              <a:gd name="connsiteX58" fmla="*/ 855649 w 1847837"/>
              <a:gd name="connsiteY58" fmla="*/ 1599646 h 1884362"/>
              <a:gd name="connsiteX59" fmla="*/ 857237 w 1847837"/>
              <a:gd name="connsiteY59" fmla="*/ 1604404 h 1884362"/>
              <a:gd name="connsiteX60" fmla="*/ 858384 w 1847837"/>
              <a:gd name="connsiteY60" fmla="*/ 1607077 h 1884362"/>
              <a:gd name="connsiteX61" fmla="*/ 857613 w 1847837"/>
              <a:gd name="connsiteY61" fmla="*/ 1608620 h 1884362"/>
              <a:gd name="connsiteX62" fmla="*/ 856024 w 1847837"/>
              <a:gd name="connsiteY62" fmla="*/ 1613387 h 1884362"/>
              <a:gd name="connsiteX63" fmla="*/ 856024 w 1847837"/>
              <a:gd name="connsiteY63" fmla="*/ 1618154 h 1884362"/>
              <a:gd name="connsiteX64" fmla="*/ 857613 w 1847837"/>
              <a:gd name="connsiteY64" fmla="*/ 1623716 h 1884362"/>
              <a:gd name="connsiteX65" fmla="*/ 859995 w 1847837"/>
              <a:gd name="connsiteY65" fmla="*/ 1628483 h 1884362"/>
              <a:gd name="connsiteX66" fmla="*/ 863171 w 1847837"/>
              <a:gd name="connsiteY66" fmla="*/ 1634840 h 1884362"/>
              <a:gd name="connsiteX67" fmla="*/ 867936 w 1847837"/>
              <a:gd name="connsiteY67" fmla="*/ 1639607 h 1884362"/>
              <a:gd name="connsiteX68" fmla="*/ 874288 w 1847837"/>
              <a:gd name="connsiteY68" fmla="*/ 1645169 h 1884362"/>
              <a:gd name="connsiteX69" fmla="*/ 881435 w 1847837"/>
              <a:gd name="connsiteY69" fmla="*/ 1649936 h 1884362"/>
              <a:gd name="connsiteX70" fmla="*/ 887788 w 1847837"/>
              <a:gd name="connsiteY70" fmla="*/ 1653909 h 1884362"/>
              <a:gd name="connsiteX71" fmla="*/ 898905 w 1847837"/>
              <a:gd name="connsiteY71" fmla="*/ 1659471 h 1884362"/>
              <a:gd name="connsiteX72" fmla="*/ 908434 w 1847837"/>
              <a:gd name="connsiteY72" fmla="*/ 1668211 h 1884362"/>
              <a:gd name="connsiteX73" fmla="*/ 920345 w 1847837"/>
              <a:gd name="connsiteY73" fmla="*/ 1678540 h 1884362"/>
              <a:gd name="connsiteX74" fmla="*/ 925904 w 1847837"/>
              <a:gd name="connsiteY74" fmla="*/ 1685691 h 1884362"/>
              <a:gd name="connsiteX75" fmla="*/ 932257 w 1847837"/>
              <a:gd name="connsiteY75" fmla="*/ 1692842 h 1884362"/>
              <a:gd name="connsiteX76" fmla="*/ 937815 w 1847837"/>
              <a:gd name="connsiteY76" fmla="*/ 1700788 h 1884362"/>
              <a:gd name="connsiteX77" fmla="*/ 942580 w 1847837"/>
              <a:gd name="connsiteY77" fmla="*/ 1710322 h 1884362"/>
              <a:gd name="connsiteX78" fmla="*/ 946550 w 1847837"/>
              <a:gd name="connsiteY78" fmla="*/ 1719857 h 1884362"/>
              <a:gd name="connsiteX79" fmla="*/ 949726 w 1847837"/>
              <a:gd name="connsiteY79" fmla="*/ 1731775 h 1884362"/>
              <a:gd name="connsiteX80" fmla="*/ 951503 w 1847837"/>
              <a:gd name="connsiteY80" fmla="*/ 1740659 h 1884362"/>
              <a:gd name="connsiteX81" fmla="*/ 950899 w 1847837"/>
              <a:gd name="connsiteY81" fmla="*/ 1752711 h 1884362"/>
              <a:gd name="connsiteX82" fmla="*/ 948518 w 1847837"/>
              <a:gd name="connsiteY82" fmla="*/ 1766986 h 1884362"/>
              <a:gd name="connsiteX83" fmla="*/ 943755 w 1847837"/>
              <a:gd name="connsiteY83" fmla="*/ 1781262 h 1884362"/>
              <a:gd name="connsiteX84" fmla="*/ 937405 w 1847837"/>
              <a:gd name="connsiteY84" fmla="*/ 1793951 h 1884362"/>
              <a:gd name="connsiteX85" fmla="*/ 930262 w 1847837"/>
              <a:gd name="connsiteY85" fmla="*/ 1806640 h 1884362"/>
              <a:gd name="connsiteX86" fmla="*/ 920737 w 1847837"/>
              <a:gd name="connsiteY86" fmla="*/ 1818536 h 1884362"/>
              <a:gd name="connsiteX87" fmla="*/ 910418 w 1847837"/>
              <a:gd name="connsiteY87" fmla="*/ 1830433 h 1884362"/>
              <a:gd name="connsiteX88" fmla="*/ 898512 w 1847837"/>
              <a:gd name="connsiteY88" fmla="*/ 1841536 h 1884362"/>
              <a:gd name="connsiteX89" fmla="*/ 885018 w 1847837"/>
              <a:gd name="connsiteY89" fmla="*/ 1849467 h 1884362"/>
              <a:gd name="connsiteX90" fmla="*/ 872318 w 1847837"/>
              <a:gd name="connsiteY90" fmla="*/ 1858984 h 1884362"/>
              <a:gd name="connsiteX91" fmla="*/ 857237 w 1847837"/>
              <a:gd name="connsiteY91" fmla="*/ 1866121 h 1884362"/>
              <a:gd name="connsiteX92" fmla="*/ 840568 w 1847837"/>
              <a:gd name="connsiteY92" fmla="*/ 1872466 h 1884362"/>
              <a:gd name="connsiteX93" fmla="*/ 823899 w 1847837"/>
              <a:gd name="connsiteY93" fmla="*/ 1877224 h 1884362"/>
              <a:gd name="connsiteX94" fmla="*/ 807230 w 1847837"/>
              <a:gd name="connsiteY94" fmla="*/ 1880397 h 1884362"/>
              <a:gd name="connsiteX95" fmla="*/ 788180 w 1847837"/>
              <a:gd name="connsiteY95" fmla="*/ 1882776 h 1884362"/>
              <a:gd name="connsiteX96" fmla="*/ 769924 w 1847837"/>
              <a:gd name="connsiteY96" fmla="*/ 1884362 h 1884362"/>
              <a:gd name="connsiteX97" fmla="*/ 751668 w 1847837"/>
              <a:gd name="connsiteY97" fmla="*/ 1882776 h 1884362"/>
              <a:gd name="connsiteX98" fmla="*/ 733412 w 1847837"/>
              <a:gd name="connsiteY98" fmla="*/ 1880397 h 1884362"/>
              <a:gd name="connsiteX99" fmla="*/ 715949 w 1847837"/>
              <a:gd name="connsiteY99" fmla="*/ 1877224 h 1884362"/>
              <a:gd name="connsiteX100" fmla="*/ 699280 w 1847837"/>
              <a:gd name="connsiteY100" fmla="*/ 1872466 h 1884362"/>
              <a:gd name="connsiteX101" fmla="*/ 683405 w 1847837"/>
              <a:gd name="connsiteY101" fmla="*/ 1866121 h 1884362"/>
              <a:gd name="connsiteX102" fmla="*/ 668324 w 1847837"/>
              <a:gd name="connsiteY102" fmla="*/ 1858984 h 1884362"/>
              <a:gd name="connsiteX103" fmla="*/ 654036 w 1847837"/>
              <a:gd name="connsiteY103" fmla="*/ 1849467 h 1884362"/>
              <a:gd name="connsiteX104" fmla="*/ 641336 w 1847837"/>
              <a:gd name="connsiteY104" fmla="*/ 1841536 h 1884362"/>
              <a:gd name="connsiteX105" fmla="*/ 629430 w 1847837"/>
              <a:gd name="connsiteY105" fmla="*/ 1830433 h 1884362"/>
              <a:gd name="connsiteX106" fmla="*/ 619905 w 1847837"/>
              <a:gd name="connsiteY106" fmla="*/ 1818536 h 1884362"/>
              <a:gd name="connsiteX107" fmla="*/ 610380 w 1847837"/>
              <a:gd name="connsiteY107" fmla="*/ 1806640 h 1884362"/>
              <a:gd name="connsiteX108" fmla="*/ 601649 w 1847837"/>
              <a:gd name="connsiteY108" fmla="*/ 1793951 h 1884362"/>
              <a:gd name="connsiteX109" fmla="*/ 596093 w 1847837"/>
              <a:gd name="connsiteY109" fmla="*/ 1781262 h 1884362"/>
              <a:gd name="connsiteX110" fmla="*/ 591330 w 1847837"/>
              <a:gd name="connsiteY110" fmla="*/ 1766986 h 1884362"/>
              <a:gd name="connsiteX111" fmla="*/ 588949 w 1847837"/>
              <a:gd name="connsiteY111" fmla="*/ 1752711 h 1884362"/>
              <a:gd name="connsiteX112" fmla="*/ 588583 w 1847837"/>
              <a:gd name="connsiteY112" fmla="*/ 1749049 h 1884362"/>
              <a:gd name="connsiteX113" fmla="*/ 589212 w 1847837"/>
              <a:gd name="connsiteY113" fmla="*/ 1743694 h 1884362"/>
              <a:gd name="connsiteX114" fmla="*/ 591594 w 1847837"/>
              <a:gd name="connsiteY114" fmla="*/ 1731775 h 1884362"/>
              <a:gd name="connsiteX115" fmla="*/ 593977 w 1847837"/>
              <a:gd name="connsiteY115" fmla="*/ 1719857 h 1884362"/>
              <a:gd name="connsiteX116" fmla="*/ 598741 w 1847837"/>
              <a:gd name="connsiteY116" fmla="*/ 1710322 h 1884362"/>
              <a:gd name="connsiteX117" fmla="*/ 603506 w 1847837"/>
              <a:gd name="connsiteY117" fmla="*/ 1700788 h 1884362"/>
              <a:gd name="connsiteX118" fmla="*/ 608270 w 1847837"/>
              <a:gd name="connsiteY118" fmla="*/ 1692842 h 1884362"/>
              <a:gd name="connsiteX119" fmla="*/ 613829 w 1847837"/>
              <a:gd name="connsiteY119" fmla="*/ 1685691 h 1884362"/>
              <a:gd name="connsiteX120" fmla="*/ 620181 w 1847837"/>
              <a:gd name="connsiteY120" fmla="*/ 1678540 h 1884362"/>
              <a:gd name="connsiteX121" fmla="*/ 632093 w 1847837"/>
              <a:gd name="connsiteY121" fmla="*/ 1668211 h 1884362"/>
              <a:gd name="connsiteX122" fmla="*/ 642416 w 1847837"/>
              <a:gd name="connsiteY122" fmla="*/ 1659471 h 1884362"/>
              <a:gd name="connsiteX123" fmla="*/ 651945 w 1847837"/>
              <a:gd name="connsiteY123" fmla="*/ 1653909 h 1884362"/>
              <a:gd name="connsiteX124" fmla="*/ 659886 w 1847837"/>
              <a:gd name="connsiteY124" fmla="*/ 1649936 h 1884362"/>
              <a:gd name="connsiteX125" fmla="*/ 667032 w 1847837"/>
              <a:gd name="connsiteY125" fmla="*/ 1645169 h 1884362"/>
              <a:gd name="connsiteX126" fmla="*/ 673385 w 1847837"/>
              <a:gd name="connsiteY126" fmla="*/ 1639607 h 1884362"/>
              <a:gd name="connsiteX127" fmla="*/ 678150 w 1847837"/>
              <a:gd name="connsiteY127" fmla="*/ 1634840 h 1884362"/>
              <a:gd name="connsiteX128" fmla="*/ 681326 w 1847837"/>
              <a:gd name="connsiteY128" fmla="*/ 1628483 h 1884362"/>
              <a:gd name="connsiteX129" fmla="*/ 683708 w 1847837"/>
              <a:gd name="connsiteY129" fmla="*/ 1623716 h 1884362"/>
              <a:gd name="connsiteX130" fmla="*/ 683708 w 1847837"/>
              <a:gd name="connsiteY130" fmla="*/ 1618154 h 1884362"/>
              <a:gd name="connsiteX131" fmla="*/ 683708 w 1847837"/>
              <a:gd name="connsiteY131" fmla="*/ 1613387 h 1884362"/>
              <a:gd name="connsiteX132" fmla="*/ 682914 w 1847837"/>
              <a:gd name="connsiteY132" fmla="*/ 1608620 h 1884362"/>
              <a:gd name="connsiteX133" fmla="*/ 682206 w 1847837"/>
              <a:gd name="connsiteY133" fmla="*/ 1607201 h 1884362"/>
              <a:gd name="connsiteX134" fmla="*/ 683405 w 1847837"/>
              <a:gd name="connsiteY134" fmla="*/ 1604404 h 1884362"/>
              <a:gd name="connsiteX135" fmla="*/ 683405 w 1847837"/>
              <a:gd name="connsiteY135" fmla="*/ 1599646 h 1884362"/>
              <a:gd name="connsiteX136" fmla="*/ 683405 w 1847837"/>
              <a:gd name="connsiteY136" fmla="*/ 1593301 h 1884362"/>
              <a:gd name="connsiteX137" fmla="*/ 682612 w 1847837"/>
              <a:gd name="connsiteY137" fmla="*/ 1588543 h 1884362"/>
              <a:gd name="connsiteX138" fmla="*/ 680230 w 1847837"/>
              <a:gd name="connsiteY138" fmla="*/ 1585370 h 1884362"/>
              <a:gd name="connsiteX139" fmla="*/ 676262 w 1847837"/>
              <a:gd name="connsiteY139" fmla="*/ 1580612 h 1884362"/>
              <a:gd name="connsiteX140" fmla="*/ 671499 w 1847837"/>
              <a:gd name="connsiteY140" fmla="*/ 1576647 h 1884362"/>
              <a:gd name="connsiteX141" fmla="*/ 666736 w 1847837"/>
              <a:gd name="connsiteY141" fmla="*/ 1574267 h 1884362"/>
              <a:gd name="connsiteX142" fmla="*/ 659593 w 1847837"/>
              <a:gd name="connsiteY142" fmla="*/ 1571888 h 1884362"/>
              <a:gd name="connsiteX143" fmla="*/ 651655 w 1847837"/>
              <a:gd name="connsiteY143" fmla="*/ 1571095 h 1884362"/>
              <a:gd name="connsiteX144" fmla="*/ 642130 w 1847837"/>
              <a:gd name="connsiteY144" fmla="*/ 1569509 h 1884362"/>
              <a:gd name="connsiteX145" fmla="*/ 0 w 1847837"/>
              <a:gd name="connsiteY145" fmla="*/ 1569509 h 1884362"/>
              <a:gd name="connsiteX146" fmla="*/ 0 w 1847837"/>
              <a:gd name="connsiteY146" fmla="*/ 0 h 1884362"/>
              <a:gd name="connsiteX147" fmla="*/ 673880 w 1847837"/>
              <a:gd name="connsiteY147" fmla="*/ 0 h 1884362"/>
              <a:gd name="connsiteX148" fmla="*/ 680230 w 1847837"/>
              <a:gd name="connsiteY148" fmla="*/ 6345 h 1884362"/>
              <a:gd name="connsiteX149" fmla="*/ 683405 w 1847837"/>
              <a:gd name="connsiteY149" fmla="*/ 11896 h 1884362"/>
              <a:gd name="connsiteX150" fmla="*/ 683405 w 1847837"/>
              <a:gd name="connsiteY150" fmla="*/ 16446 h 1884362"/>
              <a:gd name="connsiteX151" fmla="*/ 683405 w 1847837"/>
              <a:gd name="connsiteY151" fmla="*/ 21204 h 1884362"/>
              <a:gd name="connsiteX152" fmla="*/ 681024 w 1847837"/>
              <a:gd name="connsiteY152" fmla="*/ 26756 h 1884362"/>
              <a:gd name="connsiteX153" fmla="*/ 677849 w 1847837"/>
              <a:gd name="connsiteY153" fmla="*/ 31514 h 1884362"/>
              <a:gd name="connsiteX154" fmla="*/ 673086 w 1847837"/>
              <a:gd name="connsiteY154" fmla="*/ 37859 h 1884362"/>
              <a:gd name="connsiteX155" fmla="*/ 666736 w 1847837"/>
              <a:gd name="connsiteY155" fmla="*/ 42618 h 1884362"/>
              <a:gd name="connsiteX156" fmla="*/ 659592 w 1847837"/>
              <a:gd name="connsiteY156" fmla="*/ 47376 h 1884362"/>
              <a:gd name="connsiteX157" fmla="*/ 651655 w 1847837"/>
              <a:gd name="connsiteY157" fmla="*/ 52135 h 1884362"/>
              <a:gd name="connsiteX158" fmla="*/ 642130 w 1847837"/>
              <a:gd name="connsiteY158" fmla="*/ 57686 h 1884362"/>
              <a:gd name="connsiteX159" fmla="*/ 631811 w 1847837"/>
              <a:gd name="connsiteY159" fmla="*/ 64824 h 1884362"/>
              <a:gd name="connsiteX160" fmla="*/ 619905 w 1847837"/>
              <a:gd name="connsiteY160" fmla="*/ 75927 h 1884362"/>
              <a:gd name="connsiteX161" fmla="*/ 613555 w 1847837"/>
              <a:gd name="connsiteY161" fmla="*/ 83065 h 1884362"/>
              <a:gd name="connsiteX162" fmla="*/ 607999 w 1847837"/>
              <a:gd name="connsiteY162" fmla="*/ 90202 h 1884362"/>
              <a:gd name="connsiteX163" fmla="*/ 603236 w 1847837"/>
              <a:gd name="connsiteY163" fmla="*/ 98926 h 1884362"/>
              <a:gd name="connsiteX164" fmla="*/ 598474 w 1847837"/>
              <a:gd name="connsiteY164" fmla="*/ 107650 h 1884362"/>
              <a:gd name="connsiteX165" fmla="*/ 593711 w 1847837"/>
              <a:gd name="connsiteY165" fmla="*/ 117960 h 1884362"/>
              <a:gd name="connsiteX166" fmla="*/ 591330 w 1847837"/>
              <a:gd name="connsiteY166" fmla="*/ 129063 h 1884362"/>
              <a:gd name="connsiteX167" fmla="*/ 588949 w 1847837"/>
              <a:gd name="connsiteY167" fmla="*/ 140960 h 1884362"/>
              <a:gd name="connsiteX168" fmla="*/ 587361 w 1847837"/>
              <a:gd name="connsiteY168" fmla="*/ 153649 h 1884362"/>
              <a:gd name="connsiteX169" fmla="*/ 588949 w 1847837"/>
              <a:gd name="connsiteY169" fmla="*/ 169511 h 1884362"/>
              <a:gd name="connsiteX170" fmla="*/ 588949 w 1847837"/>
              <a:gd name="connsiteY170" fmla="*/ 174478 h 1884362"/>
              <a:gd name="connsiteX171" fmla="*/ 592124 w 1847837"/>
              <a:gd name="connsiteY171" fmla="*/ 188754 h 1884362"/>
              <a:gd name="connsiteX172" fmla="*/ 596093 w 1847837"/>
              <a:gd name="connsiteY172" fmla="*/ 203029 h 1884362"/>
              <a:gd name="connsiteX173" fmla="*/ 603236 w 1847837"/>
              <a:gd name="connsiteY173" fmla="*/ 215718 h 1884362"/>
              <a:gd name="connsiteX174" fmla="*/ 610380 w 1847837"/>
              <a:gd name="connsiteY174" fmla="*/ 229201 h 1884362"/>
              <a:gd name="connsiteX175" fmla="*/ 619905 w 1847837"/>
              <a:gd name="connsiteY175" fmla="*/ 241097 h 1884362"/>
              <a:gd name="connsiteX176" fmla="*/ 630224 w 1847837"/>
              <a:gd name="connsiteY176" fmla="*/ 252993 h 1884362"/>
              <a:gd name="connsiteX177" fmla="*/ 642130 w 1847837"/>
              <a:gd name="connsiteY177" fmla="*/ 262510 h 1884362"/>
              <a:gd name="connsiteX178" fmla="*/ 654036 w 1847837"/>
              <a:gd name="connsiteY178" fmla="*/ 272027 h 1884362"/>
              <a:gd name="connsiteX179" fmla="*/ 668324 w 1847837"/>
              <a:gd name="connsiteY179" fmla="*/ 279958 h 1884362"/>
              <a:gd name="connsiteX180" fmla="*/ 683405 w 1847837"/>
              <a:gd name="connsiteY180" fmla="*/ 288682 h 1884362"/>
              <a:gd name="connsiteX181" fmla="*/ 699280 w 1847837"/>
              <a:gd name="connsiteY181" fmla="*/ 294234 h 1884362"/>
              <a:gd name="connsiteX182" fmla="*/ 715949 w 1847837"/>
              <a:gd name="connsiteY182" fmla="*/ 298992 h 1884362"/>
              <a:gd name="connsiteX183" fmla="*/ 733412 w 1847837"/>
              <a:gd name="connsiteY183" fmla="*/ 302957 h 1884362"/>
              <a:gd name="connsiteX184" fmla="*/ 751668 w 1847837"/>
              <a:gd name="connsiteY184" fmla="*/ 305337 h 1884362"/>
              <a:gd name="connsiteX185" fmla="*/ 769924 w 1847837"/>
              <a:gd name="connsiteY185" fmla="*/ 306130 h 1884362"/>
              <a:gd name="connsiteX186" fmla="*/ 788974 w 1847837"/>
              <a:gd name="connsiteY186" fmla="*/ 305337 h 1884362"/>
              <a:gd name="connsiteX187" fmla="*/ 807230 w 1847837"/>
              <a:gd name="connsiteY187" fmla="*/ 302957 h 1884362"/>
              <a:gd name="connsiteX188" fmla="*/ 824693 w 1847837"/>
              <a:gd name="connsiteY188" fmla="*/ 298992 h 1884362"/>
              <a:gd name="connsiteX189" fmla="*/ 841362 w 1847837"/>
              <a:gd name="connsiteY189" fmla="*/ 294234 h 1884362"/>
              <a:gd name="connsiteX190" fmla="*/ 857237 w 1847837"/>
              <a:gd name="connsiteY190" fmla="*/ 288682 h 1884362"/>
              <a:gd name="connsiteX191" fmla="*/ 872318 w 1847837"/>
              <a:gd name="connsiteY191" fmla="*/ 279958 h 1884362"/>
              <a:gd name="connsiteX192" fmla="*/ 886605 w 1847837"/>
              <a:gd name="connsiteY192" fmla="*/ 272027 h 1884362"/>
              <a:gd name="connsiteX193" fmla="*/ 899305 w 1847837"/>
              <a:gd name="connsiteY193" fmla="*/ 262510 h 1884362"/>
              <a:gd name="connsiteX194" fmla="*/ 910418 w 1847837"/>
              <a:gd name="connsiteY194" fmla="*/ 252993 h 1884362"/>
              <a:gd name="connsiteX195" fmla="*/ 920737 w 1847837"/>
              <a:gd name="connsiteY195" fmla="*/ 241097 h 1884362"/>
              <a:gd name="connsiteX196" fmla="*/ 930262 w 1847837"/>
              <a:gd name="connsiteY196" fmla="*/ 229201 h 1884362"/>
              <a:gd name="connsiteX197" fmla="*/ 937405 w 1847837"/>
              <a:gd name="connsiteY197" fmla="*/ 215718 h 1884362"/>
              <a:gd name="connsiteX198" fmla="*/ 944549 w 1847837"/>
              <a:gd name="connsiteY198" fmla="*/ 203029 h 1884362"/>
              <a:gd name="connsiteX199" fmla="*/ 948518 w 1847837"/>
              <a:gd name="connsiteY199" fmla="*/ 188754 h 1884362"/>
              <a:gd name="connsiteX200" fmla="*/ 951693 w 1847837"/>
              <a:gd name="connsiteY200" fmla="*/ 174478 h 1884362"/>
              <a:gd name="connsiteX201" fmla="*/ 953280 w 1847837"/>
              <a:gd name="connsiteY201" fmla="*/ 159410 h 1884362"/>
              <a:gd name="connsiteX202" fmla="*/ 951693 w 1847837"/>
              <a:gd name="connsiteY202" fmla="*/ 145927 h 1884362"/>
              <a:gd name="connsiteX203" fmla="*/ 951692 w 1847837"/>
              <a:gd name="connsiteY203" fmla="*/ 145922 h 1884362"/>
              <a:gd name="connsiteX204" fmla="*/ 951692 w 1847837"/>
              <a:gd name="connsiteY204" fmla="*/ 140960 h 1884362"/>
              <a:gd name="connsiteX205" fmla="*/ 949311 w 1847837"/>
              <a:gd name="connsiteY205" fmla="*/ 129063 h 1884362"/>
              <a:gd name="connsiteX206" fmla="*/ 946136 w 1847837"/>
              <a:gd name="connsiteY206" fmla="*/ 117960 h 1884362"/>
              <a:gd name="connsiteX207" fmla="*/ 942167 w 1847837"/>
              <a:gd name="connsiteY207" fmla="*/ 107650 h 1884362"/>
              <a:gd name="connsiteX208" fmla="*/ 937405 w 1847837"/>
              <a:gd name="connsiteY208" fmla="*/ 98926 h 1884362"/>
              <a:gd name="connsiteX209" fmla="*/ 931849 w 1847837"/>
              <a:gd name="connsiteY209" fmla="*/ 90202 h 1884362"/>
              <a:gd name="connsiteX210" fmla="*/ 925499 w 1847837"/>
              <a:gd name="connsiteY210" fmla="*/ 83065 h 1884362"/>
              <a:gd name="connsiteX211" fmla="*/ 919942 w 1847837"/>
              <a:gd name="connsiteY211" fmla="*/ 75927 h 1884362"/>
              <a:gd name="connsiteX212" fmla="*/ 908036 w 1847837"/>
              <a:gd name="connsiteY212" fmla="*/ 64824 h 1884362"/>
              <a:gd name="connsiteX213" fmla="*/ 898511 w 1847837"/>
              <a:gd name="connsiteY213" fmla="*/ 57686 h 1884362"/>
              <a:gd name="connsiteX214" fmla="*/ 887399 w 1847837"/>
              <a:gd name="connsiteY214" fmla="*/ 52135 h 1884362"/>
              <a:gd name="connsiteX215" fmla="*/ 881049 w 1847837"/>
              <a:gd name="connsiteY215" fmla="*/ 47376 h 1884362"/>
              <a:gd name="connsiteX216" fmla="*/ 873905 w 1847837"/>
              <a:gd name="connsiteY216" fmla="*/ 42618 h 1884362"/>
              <a:gd name="connsiteX217" fmla="*/ 867555 w 1847837"/>
              <a:gd name="connsiteY217" fmla="*/ 37859 h 1884362"/>
              <a:gd name="connsiteX218" fmla="*/ 862792 w 1847837"/>
              <a:gd name="connsiteY218" fmla="*/ 31514 h 1884362"/>
              <a:gd name="connsiteX219" fmla="*/ 859617 w 1847837"/>
              <a:gd name="connsiteY219" fmla="*/ 26756 h 1884362"/>
              <a:gd name="connsiteX220" fmla="*/ 857236 w 1847837"/>
              <a:gd name="connsiteY220" fmla="*/ 21204 h 1884362"/>
              <a:gd name="connsiteX221" fmla="*/ 855995 w 1847837"/>
              <a:gd name="connsiteY221" fmla="*/ 17481 h 1884362"/>
              <a:gd name="connsiteX222" fmla="*/ 857237 w 1847837"/>
              <a:gd name="connsiteY222" fmla="*/ 11896 h 1884362"/>
              <a:gd name="connsiteX223" fmla="*/ 860412 w 1847837"/>
              <a:gd name="connsiteY223" fmla="*/ 6345 h 1884362"/>
              <a:gd name="connsiteX224" fmla="*/ 866762 w 1847837"/>
              <a:gd name="connsiteY224" fmla="*/ 0 h 1884362"/>
              <a:gd name="connsiteX225" fmla="*/ 1534305 w 1847837"/>
              <a:gd name="connsiteY225" fmla="*/ 0 h 1884362"/>
              <a:gd name="connsiteX226" fmla="*/ 1534305 w 1847837"/>
              <a:gd name="connsiteY226" fmla="*/ 636052 h 1884362"/>
              <a:gd name="connsiteX227" fmla="*/ 1534305 w 1847837"/>
              <a:gd name="connsiteY227" fmla="*/ 645569 h 1884362"/>
              <a:gd name="connsiteX228" fmla="*/ 1535893 w 1847837"/>
              <a:gd name="connsiteY228" fmla="*/ 653499 h 1884362"/>
              <a:gd name="connsiteX229" fmla="*/ 1538274 w 1847837"/>
              <a:gd name="connsiteY229" fmla="*/ 660637 h 1884362"/>
              <a:gd name="connsiteX230" fmla="*/ 1541449 w 1847837"/>
              <a:gd name="connsiteY230" fmla="*/ 666189 h 1884362"/>
              <a:gd name="connsiteX231" fmla="*/ 1545418 w 1847837"/>
              <a:gd name="connsiteY231" fmla="*/ 670947 h 1884362"/>
              <a:gd name="connsiteX232" fmla="*/ 1548593 w 1847837"/>
              <a:gd name="connsiteY232" fmla="*/ 674913 h 1884362"/>
              <a:gd name="connsiteX233" fmla="*/ 1553355 w 1847837"/>
              <a:gd name="connsiteY233" fmla="*/ 677292 h 1884362"/>
              <a:gd name="connsiteX234" fmla="*/ 1558118 w 1847837"/>
              <a:gd name="connsiteY234" fmla="*/ 678085 h 1884362"/>
              <a:gd name="connsiteX235" fmla="*/ 1562880 w 1847837"/>
              <a:gd name="connsiteY235" fmla="*/ 678085 h 1884362"/>
              <a:gd name="connsiteX236" fmla="*/ 1569230 w 1847837"/>
              <a:gd name="connsiteY236" fmla="*/ 677292 h 1884362"/>
              <a:gd name="connsiteX237" fmla="*/ 1573993 w 1847837"/>
              <a:gd name="connsiteY237" fmla="*/ 674913 h 1884362"/>
              <a:gd name="connsiteX238" fmla="*/ 1574900 w 1847837"/>
              <a:gd name="connsiteY238" fmla="*/ 674266 h 1884362"/>
              <a:gd name="connsiteX239" fmla="*/ 1577168 w 1847837"/>
              <a:gd name="connsiteY239" fmla="*/ 673618 h 1884362"/>
              <a:gd name="connsiteX240" fmla="*/ 1581931 w 1847837"/>
              <a:gd name="connsiteY240" fmla="*/ 671238 h 1884362"/>
              <a:gd name="connsiteX241" fmla="*/ 1588281 w 1847837"/>
              <a:gd name="connsiteY241" fmla="*/ 668064 h 1884362"/>
              <a:gd name="connsiteX242" fmla="*/ 1593043 w 1847837"/>
              <a:gd name="connsiteY242" fmla="*/ 663303 h 1884362"/>
              <a:gd name="connsiteX243" fmla="*/ 1598599 w 1847837"/>
              <a:gd name="connsiteY243" fmla="*/ 657749 h 1884362"/>
              <a:gd name="connsiteX244" fmla="*/ 1603362 w 1847837"/>
              <a:gd name="connsiteY244" fmla="*/ 650608 h 1884362"/>
              <a:gd name="connsiteX245" fmla="*/ 1608124 w 1847837"/>
              <a:gd name="connsiteY245" fmla="*/ 643467 h 1884362"/>
              <a:gd name="connsiteX246" fmla="*/ 1614474 w 1847837"/>
              <a:gd name="connsiteY246" fmla="*/ 632358 h 1884362"/>
              <a:gd name="connsiteX247" fmla="*/ 1621618 w 1847837"/>
              <a:gd name="connsiteY247" fmla="*/ 622837 h 1884362"/>
              <a:gd name="connsiteX248" fmla="*/ 1631937 w 1847837"/>
              <a:gd name="connsiteY248" fmla="*/ 610935 h 1884362"/>
              <a:gd name="connsiteX249" fmla="*/ 1639081 w 1847837"/>
              <a:gd name="connsiteY249" fmla="*/ 605381 h 1884362"/>
              <a:gd name="connsiteX250" fmla="*/ 1646224 w 1847837"/>
              <a:gd name="connsiteY250" fmla="*/ 599033 h 1884362"/>
              <a:gd name="connsiteX251" fmla="*/ 1654956 w 1847837"/>
              <a:gd name="connsiteY251" fmla="*/ 593479 h 1884362"/>
              <a:gd name="connsiteX252" fmla="*/ 1664403 w 1847837"/>
              <a:gd name="connsiteY252" fmla="*/ 588757 h 1884362"/>
              <a:gd name="connsiteX253" fmla="*/ 1665274 w 1847837"/>
              <a:gd name="connsiteY253" fmla="*/ 588467 h 1884362"/>
              <a:gd name="connsiteX254" fmla="*/ 1677180 w 1847837"/>
              <a:gd name="connsiteY254" fmla="*/ 584501 h 1884362"/>
              <a:gd name="connsiteX255" fmla="*/ 1689087 w 1847837"/>
              <a:gd name="connsiteY255" fmla="*/ 582122 h 1884362"/>
              <a:gd name="connsiteX256" fmla="*/ 1701787 w 1847837"/>
              <a:gd name="connsiteY256" fmla="*/ 582122 h 1884362"/>
              <a:gd name="connsiteX257" fmla="*/ 1716074 w 1847837"/>
              <a:gd name="connsiteY257" fmla="*/ 582122 h 1884362"/>
              <a:gd name="connsiteX258" fmla="*/ 1731155 w 1847837"/>
              <a:gd name="connsiteY258" fmla="*/ 586088 h 1884362"/>
              <a:gd name="connsiteX259" fmla="*/ 1744649 w 1847837"/>
              <a:gd name="connsiteY259" fmla="*/ 590846 h 1884362"/>
              <a:gd name="connsiteX260" fmla="*/ 1758937 w 1847837"/>
              <a:gd name="connsiteY260" fmla="*/ 596398 h 1884362"/>
              <a:gd name="connsiteX261" fmla="*/ 1770843 w 1847837"/>
              <a:gd name="connsiteY261" fmla="*/ 603535 h 1884362"/>
              <a:gd name="connsiteX262" fmla="*/ 1783543 w 1847837"/>
              <a:gd name="connsiteY262" fmla="*/ 613052 h 1884362"/>
              <a:gd name="connsiteX263" fmla="*/ 1794655 w 1847837"/>
              <a:gd name="connsiteY263" fmla="*/ 624155 h 1884362"/>
              <a:gd name="connsiteX264" fmla="*/ 1804974 w 1847837"/>
              <a:gd name="connsiteY264" fmla="*/ 636052 h 1884362"/>
              <a:gd name="connsiteX265" fmla="*/ 1814499 w 1847837"/>
              <a:gd name="connsiteY265" fmla="*/ 647948 h 1884362"/>
              <a:gd name="connsiteX266" fmla="*/ 1822437 w 1847837"/>
              <a:gd name="connsiteY266" fmla="*/ 662223 h 1884362"/>
              <a:gd name="connsiteX267" fmla="*/ 1829580 w 1847837"/>
              <a:gd name="connsiteY267" fmla="*/ 677292 h 1884362"/>
              <a:gd name="connsiteX268" fmla="*/ 1835930 w 1847837"/>
              <a:gd name="connsiteY268" fmla="*/ 692360 h 1884362"/>
              <a:gd name="connsiteX269" fmla="*/ 1840693 w 1847837"/>
              <a:gd name="connsiteY269" fmla="*/ 709015 h 1884362"/>
              <a:gd name="connsiteX270" fmla="*/ 1845455 w 1847837"/>
              <a:gd name="connsiteY270" fmla="*/ 727256 h 1884362"/>
              <a:gd name="connsiteX271" fmla="*/ 1846249 w 1847837"/>
              <a:gd name="connsiteY271" fmla="*/ 744704 h 1884362"/>
              <a:gd name="connsiteX272" fmla="*/ 1847837 w 1847837"/>
              <a:gd name="connsiteY272" fmla="*/ 763738 h 188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1847837" h="1884362">
                <a:moveTo>
                  <a:pt x="1847837" y="763738"/>
                </a:moveTo>
                <a:lnTo>
                  <a:pt x="1846249" y="782772"/>
                </a:lnTo>
                <a:lnTo>
                  <a:pt x="1845455" y="800220"/>
                </a:lnTo>
                <a:lnTo>
                  <a:pt x="1840693" y="818460"/>
                </a:lnTo>
                <a:lnTo>
                  <a:pt x="1835930" y="835115"/>
                </a:lnTo>
                <a:lnTo>
                  <a:pt x="1829580" y="850184"/>
                </a:lnTo>
                <a:lnTo>
                  <a:pt x="1822437" y="866045"/>
                </a:lnTo>
                <a:lnTo>
                  <a:pt x="1814499" y="880321"/>
                </a:lnTo>
                <a:lnTo>
                  <a:pt x="1804974" y="893010"/>
                </a:lnTo>
                <a:lnTo>
                  <a:pt x="1794655" y="904906"/>
                </a:lnTo>
                <a:lnTo>
                  <a:pt x="1783543" y="914423"/>
                </a:lnTo>
                <a:lnTo>
                  <a:pt x="1770843" y="923940"/>
                </a:lnTo>
                <a:lnTo>
                  <a:pt x="1758937" y="931078"/>
                </a:lnTo>
                <a:lnTo>
                  <a:pt x="1746897" y="937093"/>
                </a:lnTo>
                <a:lnTo>
                  <a:pt x="1740841" y="939111"/>
                </a:lnTo>
                <a:lnTo>
                  <a:pt x="1738521" y="939656"/>
                </a:lnTo>
                <a:lnTo>
                  <a:pt x="1725599" y="941809"/>
                </a:lnTo>
                <a:lnTo>
                  <a:pt x="1710518" y="943396"/>
                </a:lnTo>
                <a:lnTo>
                  <a:pt x="1697024" y="941809"/>
                </a:lnTo>
                <a:lnTo>
                  <a:pt x="1685912" y="939429"/>
                </a:lnTo>
                <a:lnTo>
                  <a:pt x="1674799" y="937048"/>
                </a:lnTo>
                <a:lnTo>
                  <a:pt x="1664481" y="932288"/>
                </a:lnTo>
                <a:lnTo>
                  <a:pt x="1654956" y="927527"/>
                </a:lnTo>
                <a:lnTo>
                  <a:pt x="1646224" y="922766"/>
                </a:lnTo>
                <a:lnTo>
                  <a:pt x="1639081" y="917212"/>
                </a:lnTo>
                <a:lnTo>
                  <a:pt x="1631937" y="910864"/>
                </a:lnTo>
                <a:lnTo>
                  <a:pt x="1621618" y="898962"/>
                </a:lnTo>
                <a:lnTo>
                  <a:pt x="1614474" y="888647"/>
                </a:lnTo>
                <a:lnTo>
                  <a:pt x="1608124" y="879126"/>
                </a:lnTo>
                <a:lnTo>
                  <a:pt x="1603362" y="871191"/>
                </a:lnTo>
                <a:lnTo>
                  <a:pt x="1598599" y="864050"/>
                </a:lnTo>
                <a:lnTo>
                  <a:pt x="1593043" y="857702"/>
                </a:lnTo>
                <a:lnTo>
                  <a:pt x="1588281" y="852941"/>
                </a:lnTo>
                <a:lnTo>
                  <a:pt x="1581931" y="849767"/>
                </a:lnTo>
                <a:lnTo>
                  <a:pt x="1577168" y="847387"/>
                </a:lnTo>
                <a:lnTo>
                  <a:pt x="1571612" y="847387"/>
                </a:lnTo>
                <a:lnTo>
                  <a:pt x="1566849" y="847387"/>
                </a:lnTo>
                <a:lnTo>
                  <a:pt x="1562087" y="848180"/>
                </a:lnTo>
                <a:lnTo>
                  <a:pt x="1559665" y="849391"/>
                </a:lnTo>
                <a:lnTo>
                  <a:pt x="1558118" y="849391"/>
                </a:lnTo>
                <a:lnTo>
                  <a:pt x="1553355" y="850184"/>
                </a:lnTo>
                <a:lnTo>
                  <a:pt x="1548593" y="852563"/>
                </a:lnTo>
                <a:lnTo>
                  <a:pt x="1545418" y="856528"/>
                </a:lnTo>
                <a:lnTo>
                  <a:pt x="1541449" y="861287"/>
                </a:lnTo>
                <a:lnTo>
                  <a:pt x="1538274" y="866838"/>
                </a:lnTo>
                <a:lnTo>
                  <a:pt x="1535893" y="873976"/>
                </a:lnTo>
                <a:lnTo>
                  <a:pt x="1534305" y="882700"/>
                </a:lnTo>
                <a:lnTo>
                  <a:pt x="1534305" y="892217"/>
                </a:lnTo>
                <a:lnTo>
                  <a:pt x="1534305" y="1569509"/>
                </a:lnTo>
                <a:lnTo>
                  <a:pt x="896924" y="1569509"/>
                </a:lnTo>
                <a:lnTo>
                  <a:pt x="888987" y="1571095"/>
                </a:lnTo>
                <a:lnTo>
                  <a:pt x="881049" y="1571888"/>
                </a:lnTo>
                <a:lnTo>
                  <a:pt x="873905" y="1574267"/>
                </a:lnTo>
                <a:lnTo>
                  <a:pt x="867555" y="1576647"/>
                </a:lnTo>
                <a:lnTo>
                  <a:pt x="862793" y="1580612"/>
                </a:lnTo>
                <a:lnTo>
                  <a:pt x="859618" y="1585370"/>
                </a:lnTo>
                <a:lnTo>
                  <a:pt x="857237" y="1588543"/>
                </a:lnTo>
                <a:lnTo>
                  <a:pt x="855649" y="1593301"/>
                </a:lnTo>
                <a:lnTo>
                  <a:pt x="855649" y="1599646"/>
                </a:lnTo>
                <a:lnTo>
                  <a:pt x="857237" y="1604404"/>
                </a:lnTo>
                <a:lnTo>
                  <a:pt x="858384" y="1607077"/>
                </a:lnTo>
                <a:lnTo>
                  <a:pt x="857613" y="1608620"/>
                </a:lnTo>
                <a:lnTo>
                  <a:pt x="856024" y="1613387"/>
                </a:lnTo>
                <a:lnTo>
                  <a:pt x="856024" y="1618154"/>
                </a:lnTo>
                <a:lnTo>
                  <a:pt x="857613" y="1623716"/>
                </a:lnTo>
                <a:lnTo>
                  <a:pt x="859995" y="1628483"/>
                </a:lnTo>
                <a:lnTo>
                  <a:pt x="863171" y="1634840"/>
                </a:lnTo>
                <a:lnTo>
                  <a:pt x="867936" y="1639607"/>
                </a:lnTo>
                <a:lnTo>
                  <a:pt x="874288" y="1645169"/>
                </a:lnTo>
                <a:lnTo>
                  <a:pt x="881435" y="1649936"/>
                </a:lnTo>
                <a:lnTo>
                  <a:pt x="887788" y="1653909"/>
                </a:lnTo>
                <a:lnTo>
                  <a:pt x="898905" y="1659471"/>
                </a:lnTo>
                <a:lnTo>
                  <a:pt x="908434" y="1668211"/>
                </a:lnTo>
                <a:lnTo>
                  <a:pt x="920345" y="1678540"/>
                </a:lnTo>
                <a:lnTo>
                  <a:pt x="925904" y="1685691"/>
                </a:lnTo>
                <a:lnTo>
                  <a:pt x="932257" y="1692842"/>
                </a:lnTo>
                <a:lnTo>
                  <a:pt x="937815" y="1700788"/>
                </a:lnTo>
                <a:lnTo>
                  <a:pt x="942580" y="1710322"/>
                </a:lnTo>
                <a:lnTo>
                  <a:pt x="946550" y="1719857"/>
                </a:lnTo>
                <a:lnTo>
                  <a:pt x="949726" y="1731775"/>
                </a:lnTo>
                <a:lnTo>
                  <a:pt x="951503" y="1740659"/>
                </a:lnTo>
                <a:lnTo>
                  <a:pt x="950899" y="1752711"/>
                </a:lnTo>
                <a:lnTo>
                  <a:pt x="948518" y="1766986"/>
                </a:lnTo>
                <a:lnTo>
                  <a:pt x="943755" y="1781262"/>
                </a:lnTo>
                <a:lnTo>
                  <a:pt x="937405" y="1793951"/>
                </a:lnTo>
                <a:lnTo>
                  <a:pt x="930262" y="1806640"/>
                </a:lnTo>
                <a:lnTo>
                  <a:pt x="920737" y="1818536"/>
                </a:lnTo>
                <a:lnTo>
                  <a:pt x="910418" y="1830433"/>
                </a:lnTo>
                <a:lnTo>
                  <a:pt x="898512" y="1841536"/>
                </a:lnTo>
                <a:lnTo>
                  <a:pt x="885018" y="1849467"/>
                </a:lnTo>
                <a:lnTo>
                  <a:pt x="872318" y="1858984"/>
                </a:lnTo>
                <a:lnTo>
                  <a:pt x="857237" y="1866121"/>
                </a:lnTo>
                <a:lnTo>
                  <a:pt x="840568" y="1872466"/>
                </a:lnTo>
                <a:lnTo>
                  <a:pt x="823899" y="1877224"/>
                </a:lnTo>
                <a:lnTo>
                  <a:pt x="807230" y="1880397"/>
                </a:lnTo>
                <a:lnTo>
                  <a:pt x="788180" y="1882776"/>
                </a:lnTo>
                <a:lnTo>
                  <a:pt x="769924" y="1884362"/>
                </a:lnTo>
                <a:lnTo>
                  <a:pt x="751668" y="1882776"/>
                </a:lnTo>
                <a:lnTo>
                  <a:pt x="733412" y="1880397"/>
                </a:lnTo>
                <a:lnTo>
                  <a:pt x="715949" y="1877224"/>
                </a:lnTo>
                <a:lnTo>
                  <a:pt x="699280" y="1872466"/>
                </a:lnTo>
                <a:lnTo>
                  <a:pt x="683405" y="1866121"/>
                </a:lnTo>
                <a:lnTo>
                  <a:pt x="668324" y="1858984"/>
                </a:lnTo>
                <a:lnTo>
                  <a:pt x="654036" y="1849467"/>
                </a:lnTo>
                <a:lnTo>
                  <a:pt x="641336" y="1841536"/>
                </a:lnTo>
                <a:lnTo>
                  <a:pt x="629430" y="1830433"/>
                </a:lnTo>
                <a:lnTo>
                  <a:pt x="619905" y="1818536"/>
                </a:lnTo>
                <a:lnTo>
                  <a:pt x="610380" y="1806640"/>
                </a:lnTo>
                <a:lnTo>
                  <a:pt x="601649" y="1793951"/>
                </a:lnTo>
                <a:lnTo>
                  <a:pt x="596093" y="1781262"/>
                </a:lnTo>
                <a:lnTo>
                  <a:pt x="591330" y="1766986"/>
                </a:lnTo>
                <a:lnTo>
                  <a:pt x="588949" y="1752711"/>
                </a:lnTo>
                <a:lnTo>
                  <a:pt x="588583" y="1749049"/>
                </a:lnTo>
                <a:lnTo>
                  <a:pt x="589212" y="1743694"/>
                </a:lnTo>
                <a:lnTo>
                  <a:pt x="591594" y="1731775"/>
                </a:lnTo>
                <a:lnTo>
                  <a:pt x="593977" y="1719857"/>
                </a:lnTo>
                <a:lnTo>
                  <a:pt x="598741" y="1710322"/>
                </a:lnTo>
                <a:lnTo>
                  <a:pt x="603506" y="1700788"/>
                </a:lnTo>
                <a:lnTo>
                  <a:pt x="608270" y="1692842"/>
                </a:lnTo>
                <a:lnTo>
                  <a:pt x="613829" y="1685691"/>
                </a:lnTo>
                <a:lnTo>
                  <a:pt x="620181" y="1678540"/>
                </a:lnTo>
                <a:lnTo>
                  <a:pt x="632093" y="1668211"/>
                </a:lnTo>
                <a:lnTo>
                  <a:pt x="642416" y="1659471"/>
                </a:lnTo>
                <a:lnTo>
                  <a:pt x="651945" y="1653909"/>
                </a:lnTo>
                <a:lnTo>
                  <a:pt x="659886" y="1649936"/>
                </a:lnTo>
                <a:lnTo>
                  <a:pt x="667032" y="1645169"/>
                </a:lnTo>
                <a:lnTo>
                  <a:pt x="673385" y="1639607"/>
                </a:lnTo>
                <a:lnTo>
                  <a:pt x="678150" y="1634840"/>
                </a:lnTo>
                <a:lnTo>
                  <a:pt x="681326" y="1628483"/>
                </a:lnTo>
                <a:lnTo>
                  <a:pt x="683708" y="1623716"/>
                </a:lnTo>
                <a:lnTo>
                  <a:pt x="683708" y="1618154"/>
                </a:lnTo>
                <a:lnTo>
                  <a:pt x="683708" y="1613387"/>
                </a:lnTo>
                <a:lnTo>
                  <a:pt x="682914" y="1608620"/>
                </a:lnTo>
                <a:lnTo>
                  <a:pt x="682206" y="1607201"/>
                </a:lnTo>
                <a:lnTo>
                  <a:pt x="683405" y="1604404"/>
                </a:lnTo>
                <a:lnTo>
                  <a:pt x="683405" y="1599646"/>
                </a:lnTo>
                <a:lnTo>
                  <a:pt x="683405" y="1593301"/>
                </a:lnTo>
                <a:lnTo>
                  <a:pt x="682612" y="1588543"/>
                </a:lnTo>
                <a:lnTo>
                  <a:pt x="680230" y="1585370"/>
                </a:lnTo>
                <a:lnTo>
                  <a:pt x="676262" y="1580612"/>
                </a:lnTo>
                <a:lnTo>
                  <a:pt x="671499" y="1576647"/>
                </a:lnTo>
                <a:lnTo>
                  <a:pt x="666736" y="1574267"/>
                </a:lnTo>
                <a:lnTo>
                  <a:pt x="659593" y="1571888"/>
                </a:lnTo>
                <a:lnTo>
                  <a:pt x="651655" y="1571095"/>
                </a:lnTo>
                <a:lnTo>
                  <a:pt x="642130" y="1569509"/>
                </a:lnTo>
                <a:lnTo>
                  <a:pt x="0" y="1569509"/>
                </a:lnTo>
                <a:lnTo>
                  <a:pt x="0" y="0"/>
                </a:lnTo>
                <a:lnTo>
                  <a:pt x="673880" y="0"/>
                </a:lnTo>
                <a:lnTo>
                  <a:pt x="680230" y="6345"/>
                </a:lnTo>
                <a:lnTo>
                  <a:pt x="683405" y="11896"/>
                </a:lnTo>
                <a:lnTo>
                  <a:pt x="683405" y="16446"/>
                </a:lnTo>
                <a:lnTo>
                  <a:pt x="683405" y="21204"/>
                </a:lnTo>
                <a:lnTo>
                  <a:pt x="681024" y="26756"/>
                </a:lnTo>
                <a:lnTo>
                  <a:pt x="677849" y="31514"/>
                </a:lnTo>
                <a:lnTo>
                  <a:pt x="673086" y="37859"/>
                </a:lnTo>
                <a:lnTo>
                  <a:pt x="666736" y="42618"/>
                </a:lnTo>
                <a:lnTo>
                  <a:pt x="659592" y="47376"/>
                </a:lnTo>
                <a:lnTo>
                  <a:pt x="651655" y="52135"/>
                </a:lnTo>
                <a:lnTo>
                  <a:pt x="642130" y="57686"/>
                </a:lnTo>
                <a:lnTo>
                  <a:pt x="631811" y="64824"/>
                </a:lnTo>
                <a:lnTo>
                  <a:pt x="619905" y="75927"/>
                </a:lnTo>
                <a:lnTo>
                  <a:pt x="613555" y="83065"/>
                </a:lnTo>
                <a:lnTo>
                  <a:pt x="607999" y="90202"/>
                </a:lnTo>
                <a:lnTo>
                  <a:pt x="603236" y="98926"/>
                </a:lnTo>
                <a:lnTo>
                  <a:pt x="598474" y="107650"/>
                </a:lnTo>
                <a:lnTo>
                  <a:pt x="593711" y="117960"/>
                </a:lnTo>
                <a:lnTo>
                  <a:pt x="591330" y="129063"/>
                </a:lnTo>
                <a:lnTo>
                  <a:pt x="588949" y="140960"/>
                </a:lnTo>
                <a:lnTo>
                  <a:pt x="587361" y="153649"/>
                </a:lnTo>
                <a:lnTo>
                  <a:pt x="588949" y="169511"/>
                </a:lnTo>
                <a:lnTo>
                  <a:pt x="588949" y="174478"/>
                </a:lnTo>
                <a:lnTo>
                  <a:pt x="592124" y="188754"/>
                </a:lnTo>
                <a:lnTo>
                  <a:pt x="596093" y="203029"/>
                </a:lnTo>
                <a:lnTo>
                  <a:pt x="603236" y="215718"/>
                </a:lnTo>
                <a:lnTo>
                  <a:pt x="610380" y="229201"/>
                </a:lnTo>
                <a:lnTo>
                  <a:pt x="619905" y="241097"/>
                </a:lnTo>
                <a:lnTo>
                  <a:pt x="630224" y="252993"/>
                </a:lnTo>
                <a:lnTo>
                  <a:pt x="642130" y="262510"/>
                </a:lnTo>
                <a:lnTo>
                  <a:pt x="654036" y="272027"/>
                </a:lnTo>
                <a:lnTo>
                  <a:pt x="668324" y="279958"/>
                </a:lnTo>
                <a:lnTo>
                  <a:pt x="683405" y="288682"/>
                </a:lnTo>
                <a:lnTo>
                  <a:pt x="699280" y="294234"/>
                </a:lnTo>
                <a:lnTo>
                  <a:pt x="715949" y="298992"/>
                </a:lnTo>
                <a:lnTo>
                  <a:pt x="733412" y="302957"/>
                </a:lnTo>
                <a:lnTo>
                  <a:pt x="751668" y="305337"/>
                </a:lnTo>
                <a:lnTo>
                  <a:pt x="769924" y="306130"/>
                </a:lnTo>
                <a:lnTo>
                  <a:pt x="788974" y="305337"/>
                </a:lnTo>
                <a:lnTo>
                  <a:pt x="807230" y="302957"/>
                </a:lnTo>
                <a:lnTo>
                  <a:pt x="824693" y="298992"/>
                </a:lnTo>
                <a:lnTo>
                  <a:pt x="841362" y="294234"/>
                </a:lnTo>
                <a:lnTo>
                  <a:pt x="857237" y="288682"/>
                </a:lnTo>
                <a:lnTo>
                  <a:pt x="872318" y="279958"/>
                </a:lnTo>
                <a:lnTo>
                  <a:pt x="886605" y="272027"/>
                </a:lnTo>
                <a:lnTo>
                  <a:pt x="899305" y="262510"/>
                </a:lnTo>
                <a:lnTo>
                  <a:pt x="910418" y="252993"/>
                </a:lnTo>
                <a:lnTo>
                  <a:pt x="920737" y="241097"/>
                </a:lnTo>
                <a:lnTo>
                  <a:pt x="930262" y="229201"/>
                </a:lnTo>
                <a:lnTo>
                  <a:pt x="937405" y="215718"/>
                </a:lnTo>
                <a:lnTo>
                  <a:pt x="944549" y="203029"/>
                </a:lnTo>
                <a:lnTo>
                  <a:pt x="948518" y="188754"/>
                </a:lnTo>
                <a:lnTo>
                  <a:pt x="951693" y="174478"/>
                </a:lnTo>
                <a:lnTo>
                  <a:pt x="953280" y="159410"/>
                </a:lnTo>
                <a:lnTo>
                  <a:pt x="951693" y="145927"/>
                </a:lnTo>
                <a:lnTo>
                  <a:pt x="951692" y="145922"/>
                </a:lnTo>
                <a:lnTo>
                  <a:pt x="951692" y="140960"/>
                </a:lnTo>
                <a:lnTo>
                  <a:pt x="949311" y="129063"/>
                </a:lnTo>
                <a:lnTo>
                  <a:pt x="946136" y="117960"/>
                </a:lnTo>
                <a:lnTo>
                  <a:pt x="942167" y="107650"/>
                </a:lnTo>
                <a:lnTo>
                  <a:pt x="937405" y="98926"/>
                </a:lnTo>
                <a:lnTo>
                  <a:pt x="931849" y="90202"/>
                </a:lnTo>
                <a:lnTo>
                  <a:pt x="925499" y="83065"/>
                </a:lnTo>
                <a:lnTo>
                  <a:pt x="919942" y="75927"/>
                </a:lnTo>
                <a:lnTo>
                  <a:pt x="908036" y="64824"/>
                </a:lnTo>
                <a:lnTo>
                  <a:pt x="898511" y="57686"/>
                </a:lnTo>
                <a:lnTo>
                  <a:pt x="887399" y="52135"/>
                </a:lnTo>
                <a:lnTo>
                  <a:pt x="881049" y="47376"/>
                </a:lnTo>
                <a:lnTo>
                  <a:pt x="873905" y="42618"/>
                </a:lnTo>
                <a:lnTo>
                  <a:pt x="867555" y="37859"/>
                </a:lnTo>
                <a:lnTo>
                  <a:pt x="862792" y="31514"/>
                </a:lnTo>
                <a:lnTo>
                  <a:pt x="859617" y="26756"/>
                </a:lnTo>
                <a:lnTo>
                  <a:pt x="857236" y="21204"/>
                </a:lnTo>
                <a:lnTo>
                  <a:pt x="855995" y="17481"/>
                </a:lnTo>
                <a:lnTo>
                  <a:pt x="857237" y="11896"/>
                </a:lnTo>
                <a:lnTo>
                  <a:pt x="860412" y="6345"/>
                </a:lnTo>
                <a:lnTo>
                  <a:pt x="866762" y="0"/>
                </a:lnTo>
                <a:lnTo>
                  <a:pt x="1534305" y="0"/>
                </a:lnTo>
                <a:lnTo>
                  <a:pt x="1534305" y="636052"/>
                </a:lnTo>
                <a:lnTo>
                  <a:pt x="1534305" y="645569"/>
                </a:lnTo>
                <a:lnTo>
                  <a:pt x="1535893" y="653499"/>
                </a:lnTo>
                <a:lnTo>
                  <a:pt x="1538274" y="660637"/>
                </a:lnTo>
                <a:lnTo>
                  <a:pt x="1541449" y="666189"/>
                </a:lnTo>
                <a:lnTo>
                  <a:pt x="1545418" y="670947"/>
                </a:lnTo>
                <a:lnTo>
                  <a:pt x="1548593" y="674913"/>
                </a:lnTo>
                <a:lnTo>
                  <a:pt x="1553355" y="677292"/>
                </a:lnTo>
                <a:lnTo>
                  <a:pt x="1558118" y="678085"/>
                </a:lnTo>
                <a:lnTo>
                  <a:pt x="1562880" y="678085"/>
                </a:lnTo>
                <a:lnTo>
                  <a:pt x="1569230" y="677292"/>
                </a:lnTo>
                <a:lnTo>
                  <a:pt x="1573993" y="674913"/>
                </a:lnTo>
                <a:lnTo>
                  <a:pt x="1574900" y="674266"/>
                </a:lnTo>
                <a:lnTo>
                  <a:pt x="1577168" y="673618"/>
                </a:lnTo>
                <a:lnTo>
                  <a:pt x="1581931" y="671238"/>
                </a:lnTo>
                <a:lnTo>
                  <a:pt x="1588281" y="668064"/>
                </a:lnTo>
                <a:lnTo>
                  <a:pt x="1593043" y="663303"/>
                </a:lnTo>
                <a:lnTo>
                  <a:pt x="1598599" y="657749"/>
                </a:lnTo>
                <a:lnTo>
                  <a:pt x="1603362" y="650608"/>
                </a:lnTo>
                <a:lnTo>
                  <a:pt x="1608124" y="643467"/>
                </a:lnTo>
                <a:lnTo>
                  <a:pt x="1614474" y="632358"/>
                </a:lnTo>
                <a:lnTo>
                  <a:pt x="1621618" y="622837"/>
                </a:lnTo>
                <a:lnTo>
                  <a:pt x="1631937" y="610935"/>
                </a:lnTo>
                <a:lnTo>
                  <a:pt x="1639081" y="605381"/>
                </a:lnTo>
                <a:lnTo>
                  <a:pt x="1646224" y="599033"/>
                </a:lnTo>
                <a:lnTo>
                  <a:pt x="1654956" y="593479"/>
                </a:lnTo>
                <a:lnTo>
                  <a:pt x="1664403" y="588757"/>
                </a:lnTo>
                <a:lnTo>
                  <a:pt x="1665274" y="588467"/>
                </a:lnTo>
                <a:lnTo>
                  <a:pt x="1677180" y="584501"/>
                </a:lnTo>
                <a:lnTo>
                  <a:pt x="1689087" y="582122"/>
                </a:lnTo>
                <a:lnTo>
                  <a:pt x="1701787" y="582122"/>
                </a:lnTo>
                <a:lnTo>
                  <a:pt x="1716074" y="582122"/>
                </a:lnTo>
                <a:lnTo>
                  <a:pt x="1731155" y="586088"/>
                </a:lnTo>
                <a:lnTo>
                  <a:pt x="1744649" y="590846"/>
                </a:lnTo>
                <a:lnTo>
                  <a:pt x="1758937" y="596398"/>
                </a:lnTo>
                <a:lnTo>
                  <a:pt x="1770843" y="603535"/>
                </a:lnTo>
                <a:lnTo>
                  <a:pt x="1783543" y="613052"/>
                </a:lnTo>
                <a:lnTo>
                  <a:pt x="1794655" y="624155"/>
                </a:lnTo>
                <a:lnTo>
                  <a:pt x="1804974" y="636052"/>
                </a:lnTo>
                <a:lnTo>
                  <a:pt x="1814499" y="647948"/>
                </a:lnTo>
                <a:lnTo>
                  <a:pt x="1822437" y="662223"/>
                </a:lnTo>
                <a:lnTo>
                  <a:pt x="1829580" y="677292"/>
                </a:lnTo>
                <a:lnTo>
                  <a:pt x="1835930" y="692360"/>
                </a:lnTo>
                <a:lnTo>
                  <a:pt x="1840693" y="709015"/>
                </a:lnTo>
                <a:lnTo>
                  <a:pt x="1845455" y="727256"/>
                </a:lnTo>
                <a:lnTo>
                  <a:pt x="1846249" y="744704"/>
                </a:lnTo>
                <a:lnTo>
                  <a:pt x="1847837" y="763738"/>
                </a:lnTo>
                <a:close/>
              </a:path>
            </a:pathLst>
          </a:custGeom>
          <a:ln>
            <a:solidFill>
              <a:schemeClr val="tx1">
                <a:lumMod val="50000"/>
                <a:lumOff val="50000"/>
              </a:schemeClr>
            </a:solidFill>
          </a:ln>
        </p:spPr>
      </p:pic>
      <p:pic>
        <p:nvPicPr>
          <p:cNvPr id="11" name="Picture 10">
            <a:extLst>
              <a:ext uri="{FF2B5EF4-FFF2-40B4-BE49-F238E27FC236}">
                <a16:creationId xmlns:a16="http://schemas.microsoft.com/office/drawing/2014/main" id="{187C60E6-269B-439E-AC64-A7596BC07C97}"/>
              </a:ext>
            </a:extLst>
          </p:cNvPr>
          <p:cNvPicPr>
            <a:picLocks noChangeAspect="1"/>
          </p:cNvPicPr>
          <p:nvPr/>
        </p:nvPicPr>
        <p:blipFill rotWithShape="1">
          <a:blip r:embed="rId2"/>
          <a:srcRect l="9351" t="25362" r="56381" b="45050"/>
          <a:stretch/>
        </p:blipFill>
        <p:spPr>
          <a:xfrm rot="19567344">
            <a:off x="202624" y="4902700"/>
            <a:ext cx="1333697" cy="1804138"/>
          </a:xfrm>
          <a:custGeom>
            <a:avLst/>
            <a:gdLst>
              <a:gd name="connsiteX0" fmla="*/ 1847836 w 1847836"/>
              <a:gd name="connsiteY0" fmla="*/ 763739 h 1884363"/>
              <a:gd name="connsiteX1" fmla="*/ 1846248 w 1847836"/>
              <a:gd name="connsiteY1" fmla="*/ 782773 h 1884363"/>
              <a:gd name="connsiteX2" fmla="*/ 1845455 w 1847836"/>
              <a:gd name="connsiteY2" fmla="*/ 800221 h 1884363"/>
              <a:gd name="connsiteX3" fmla="*/ 1840692 w 1847836"/>
              <a:gd name="connsiteY3" fmla="*/ 818461 h 1884363"/>
              <a:gd name="connsiteX4" fmla="*/ 1835930 w 1847836"/>
              <a:gd name="connsiteY4" fmla="*/ 835116 h 1884363"/>
              <a:gd name="connsiteX5" fmla="*/ 1829580 w 1847836"/>
              <a:gd name="connsiteY5" fmla="*/ 850185 h 1884363"/>
              <a:gd name="connsiteX6" fmla="*/ 1822436 w 1847836"/>
              <a:gd name="connsiteY6" fmla="*/ 866046 h 1884363"/>
              <a:gd name="connsiteX7" fmla="*/ 1814498 w 1847836"/>
              <a:gd name="connsiteY7" fmla="*/ 880322 h 1884363"/>
              <a:gd name="connsiteX8" fmla="*/ 1804973 w 1847836"/>
              <a:gd name="connsiteY8" fmla="*/ 893011 h 1884363"/>
              <a:gd name="connsiteX9" fmla="*/ 1795104 w 1847836"/>
              <a:gd name="connsiteY9" fmla="*/ 904389 h 1884363"/>
              <a:gd name="connsiteX10" fmla="*/ 1792274 w 1847836"/>
              <a:gd name="connsiteY10" fmla="*/ 906814 h 1884363"/>
              <a:gd name="connsiteX11" fmla="*/ 1780368 w 1847836"/>
              <a:gd name="connsiteY11" fmla="*/ 916336 h 1884363"/>
              <a:gd name="connsiteX12" fmla="*/ 1767668 w 1847836"/>
              <a:gd name="connsiteY12" fmla="*/ 925064 h 1884363"/>
              <a:gd name="connsiteX13" fmla="*/ 1754174 w 1847836"/>
              <a:gd name="connsiteY13" fmla="*/ 930618 h 1884363"/>
              <a:gd name="connsiteX14" fmla="*/ 1739887 w 1847836"/>
              <a:gd name="connsiteY14" fmla="*/ 935379 h 1884363"/>
              <a:gd name="connsiteX15" fmla="*/ 1725599 w 1847836"/>
              <a:gd name="connsiteY15" fmla="*/ 937759 h 1884363"/>
              <a:gd name="connsiteX16" fmla="*/ 1710518 w 1847836"/>
              <a:gd name="connsiteY16" fmla="*/ 939346 h 1884363"/>
              <a:gd name="connsiteX17" fmla="*/ 1697024 w 1847836"/>
              <a:gd name="connsiteY17" fmla="*/ 937759 h 1884363"/>
              <a:gd name="connsiteX18" fmla="*/ 1685912 w 1847836"/>
              <a:gd name="connsiteY18" fmla="*/ 935379 h 1884363"/>
              <a:gd name="connsiteX19" fmla="*/ 1674799 w 1847836"/>
              <a:gd name="connsiteY19" fmla="*/ 932998 h 1884363"/>
              <a:gd name="connsiteX20" fmla="*/ 1664481 w 1847836"/>
              <a:gd name="connsiteY20" fmla="*/ 928238 h 1884363"/>
              <a:gd name="connsiteX21" fmla="*/ 1654956 w 1847836"/>
              <a:gd name="connsiteY21" fmla="*/ 923477 h 1884363"/>
              <a:gd name="connsiteX22" fmla="*/ 1646224 w 1847836"/>
              <a:gd name="connsiteY22" fmla="*/ 918716 h 1884363"/>
              <a:gd name="connsiteX23" fmla="*/ 1639081 w 1847836"/>
              <a:gd name="connsiteY23" fmla="*/ 913162 h 1884363"/>
              <a:gd name="connsiteX24" fmla="*/ 1631937 w 1847836"/>
              <a:gd name="connsiteY24" fmla="*/ 906814 h 1884363"/>
              <a:gd name="connsiteX25" fmla="*/ 1621618 w 1847836"/>
              <a:gd name="connsiteY25" fmla="*/ 894912 h 1884363"/>
              <a:gd name="connsiteX26" fmla="*/ 1614474 w 1847836"/>
              <a:gd name="connsiteY26" fmla="*/ 884597 h 1884363"/>
              <a:gd name="connsiteX27" fmla="*/ 1608124 w 1847836"/>
              <a:gd name="connsiteY27" fmla="*/ 875076 h 1884363"/>
              <a:gd name="connsiteX28" fmla="*/ 1603362 w 1847836"/>
              <a:gd name="connsiteY28" fmla="*/ 867141 h 1884363"/>
              <a:gd name="connsiteX29" fmla="*/ 1598599 w 1847836"/>
              <a:gd name="connsiteY29" fmla="*/ 860000 h 1884363"/>
              <a:gd name="connsiteX30" fmla="*/ 1593043 w 1847836"/>
              <a:gd name="connsiteY30" fmla="*/ 853652 h 1884363"/>
              <a:gd name="connsiteX31" fmla="*/ 1588281 w 1847836"/>
              <a:gd name="connsiteY31" fmla="*/ 848891 h 1884363"/>
              <a:gd name="connsiteX32" fmla="*/ 1581931 w 1847836"/>
              <a:gd name="connsiteY32" fmla="*/ 845717 h 1884363"/>
              <a:gd name="connsiteX33" fmla="*/ 1577168 w 1847836"/>
              <a:gd name="connsiteY33" fmla="*/ 843337 h 1884363"/>
              <a:gd name="connsiteX34" fmla="*/ 1571612 w 1847836"/>
              <a:gd name="connsiteY34" fmla="*/ 843337 h 1884363"/>
              <a:gd name="connsiteX35" fmla="*/ 1566849 w 1847836"/>
              <a:gd name="connsiteY35" fmla="*/ 843337 h 1884363"/>
              <a:gd name="connsiteX36" fmla="*/ 1562087 w 1847836"/>
              <a:gd name="connsiteY36" fmla="*/ 844130 h 1884363"/>
              <a:gd name="connsiteX37" fmla="*/ 1557324 w 1847836"/>
              <a:gd name="connsiteY37" fmla="*/ 846511 h 1884363"/>
              <a:gd name="connsiteX38" fmla="*/ 1554542 w 1847836"/>
              <a:gd name="connsiteY38" fmla="*/ 849987 h 1884363"/>
              <a:gd name="connsiteX39" fmla="*/ 1553355 w 1847836"/>
              <a:gd name="connsiteY39" fmla="*/ 850185 h 1884363"/>
              <a:gd name="connsiteX40" fmla="*/ 1548592 w 1847836"/>
              <a:gd name="connsiteY40" fmla="*/ 852564 h 1884363"/>
              <a:gd name="connsiteX41" fmla="*/ 1545417 w 1847836"/>
              <a:gd name="connsiteY41" fmla="*/ 856529 h 1884363"/>
              <a:gd name="connsiteX42" fmla="*/ 1541448 w 1847836"/>
              <a:gd name="connsiteY42" fmla="*/ 861288 h 1884363"/>
              <a:gd name="connsiteX43" fmla="*/ 1538273 w 1847836"/>
              <a:gd name="connsiteY43" fmla="*/ 866839 h 1884363"/>
              <a:gd name="connsiteX44" fmla="*/ 1535892 w 1847836"/>
              <a:gd name="connsiteY44" fmla="*/ 873977 h 1884363"/>
              <a:gd name="connsiteX45" fmla="*/ 1534305 w 1847836"/>
              <a:gd name="connsiteY45" fmla="*/ 882701 h 1884363"/>
              <a:gd name="connsiteX46" fmla="*/ 1534305 w 1847836"/>
              <a:gd name="connsiteY46" fmla="*/ 892218 h 1884363"/>
              <a:gd name="connsiteX47" fmla="*/ 1534305 w 1847836"/>
              <a:gd name="connsiteY47" fmla="*/ 1569510 h 1884363"/>
              <a:gd name="connsiteX48" fmla="*/ 896924 w 1847836"/>
              <a:gd name="connsiteY48" fmla="*/ 1569510 h 1884363"/>
              <a:gd name="connsiteX49" fmla="*/ 888986 w 1847836"/>
              <a:gd name="connsiteY49" fmla="*/ 1571096 h 1884363"/>
              <a:gd name="connsiteX50" fmla="*/ 881049 w 1847836"/>
              <a:gd name="connsiteY50" fmla="*/ 1571889 h 1884363"/>
              <a:gd name="connsiteX51" fmla="*/ 873905 w 1847836"/>
              <a:gd name="connsiteY51" fmla="*/ 1574268 h 1884363"/>
              <a:gd name="connsiteX52" fmla="*/ 867555 w 1847836"/>
              <a:gd name="connsiteY52" fmla="*/ 1576648 h 1884363"/>
              <a:gd name="connsiteX53" fmla="*/ 862792 w 1847836"/>
              <a:gd name="connsiteY53" fmla="*/ 1580613 h 1884363"/>
              <a:gd name="connsiteX54" fmla="*/ 859617 w 1847836"/>
              <a:gd name="connsiteY54" fmla="*/ 1585371 h 1884363"/>
              <a:gd name="connsiteX55" fmla="*/ 857236 w 1847836"/>
              <a:gd name="connsiteY55" fmla="*/ 1588544 h 1884363"/>
              <a:gd name="connsiteX56" fmla="*/ 855649 w 1847836"/>
              <a:gd name="connsiteY56" fmla="*/ 1593302 h 1884363"/>
              <a:gd name="connsiteX57" fmla="*/ 855649 w 1847836"/>
              <a:gd name="connsiteY57" fmla="*/ 1599647 h 1884363"/>
              <a:gd name="connsiteX58" fmla="*/ 855995 w 1847836"/>
              <a:gd name="connsiteY58" fmla="*/ 1600682 h 1884363"/>
              <a:gd name="connsiteX59" fmla="*/ 855649 w 1847836"/>
              <a:gd name="connsiteY59" fmla="*/ 1602235 h 1884363"/>
              <a:gd name="connsiteX60" fmla="*/ 858030 w 1847836"/>
              <a:gd name="connsiteY60" fmla="*/ 1610959 h 1884363"/>
              <a:gd name="connsiteX61" fmla="*/ 861999 w 1847836"/>
              <a:gd name="connsiteY61" fmla="*/ 1618890 h 1884363"/>
              <a:gd name="connsiteX62" fmla="*/ 867555 w 1847836"/>
              <a:gd name="connsiteY62" fmla="*/ 1626028 h 1884363"/>
              <a:gd name="connsiteX63" fmla="*/ 877080 w 1847836"/>
              <a:gd name="connsiteY63" fmla="*/ 1633165 h 1884363"/>
              <a:gd name="connsiteX64" fmla="*/ 888987 w 1847836"/>
              <a:gd name="connsiteY64" fmla="*/ 1640303 h 1884363"/>
              <a:gd name="connsiteX65" fmla="*/ 898512 w 1847836"/>
              <a:gd name="connsiteY65" fmla="*/ 1646648 h 1884363"/>
              <a:gd name="connsiteX66" fmla="*/ 908830 w 1847836"/>
              <a:gd name="connsiteY66" fmla="*/ 1653786 h 1884363"/>
              <a:gd name="connsiteX67" fmla="*/ 920737 w 1847836"/>
              <a:gd name="connsiteY67" fmla="*/ 1664096 h 1884363"/>
              <a:gd name="connsiteX68" fmla="*/ 927087 w 1847836"/>
              <a:gd name="connsiteY68" fmla="*/ 1671233 h 1884363"/>
              <a:gd name="connsiteX69" fmla="*/ 932643 w 1847836"/>
              <a:gd name="connsiteY69" fmla="*/ 1678371 h 1884363"/>
              <a:gd name="connsiteX70" fmla="*/ 937405 w 1847836"/>
              <a:gd name="connsiteY70" fmla="*/ 1686302 h 1884363"/>
              <a:gd name="connsiteX71" fmla="*/ 942168 w 1847836"/>
              <a:gd name="connsiteY71" fmla="*/ 1695819 h 1884363"/>
              <a:gd name="connsiteX72" fmla="*/ 946930 w 1847836"/>
              <a:gd name="connsiteY72" fmla="*/ 1706922 h 1884363"/>
              <a:gd name="connsiteX73" fmla="*/ 949312 w 1847836"/>
              <a:gd name="connsiteY73" fmla="*/ 1717232 h 1884363"/>
              <a:gd name="connsiteX74" fmla="*/ 951692 w 1847836"/>
              <a:gd name="connsiteY74" fmla="*/ 1729123 h 1884363"/>
              <a:gd name="connsiteX75" fmla="*/ 951692 w 1847836"/>
              <a:gd name="connsiteY75" fmla="*/ 1736850 h 1884363"/>
              <a:gd name="connsiteX76" fmla="*/ 950899 w 1847836"/>
              <a:gd name="connsiteY76" fmla="*/ 1752712 h 1884363"/>
              <a:gd name="connsiteX77" fmla="*/ 948517 w 1847836"/>
              <a:gd name="connsiteY77" fmla="*/ 1766987 h 1884363"/>
              <a:gd name="connsiteX78" fmla="*/ 943755 w 1847836"/>
              <a:gd name="connsiteY78" fmla="*/ 1781263 h 1884363"/>
              <a:gd name="connsiteX79" fmla="*/ 937405 w 1847836"/>
              <a:gd name="connsiteY79" fmla="*/ 1793952 h 1884363"/>
              <a:gd name="connsiteX80" fmla="*/ 930261 w 1847836"/>
              <a:gd name="connsiteY80" fmla="*/ 1806641 h 1884363"/>
              <a:gd name="connsiteX81" fmla="*/ 920736 w 1847836"/>
              <a:gd name="connsiteY81" fmla="*/ 1818537 h 1884363"/>
              <a:gd name="connsiteX82" fmla="*/ 910417 w 1847836"/>
              <a:gd name="connsiteY82" fmla="*/ 1830434 h 1884363"/>
              <a:gd name="connsiteX83" fmla="*/ 898511 w 1847836"/>
              <a:gd name="connsiteY83" fmla="*/ 1841537 h 1884363"/>
              <a:gd name="connsiteX84" fmla="*/ 885017 w 1847836"/>
              <a:gd name="connsiteY84" fmla="*/ 1849468 h 1884363"/>
              <a:gd name="connsiteX85" fmla="*/ 872317 w 1847836"/>
              <a:gd name="connsiteY85" fmla="*/ 1858985 h 1884363"/>
              <a:gd name="connsiteX86" fmla="*/ 857236 w 1847836"/>
              <a:gd name="connsiteY86" fmla="*/ 1866122 h 1884363"/>
              <a:gd name="connsiteX87" fmla="*/ 840567 w 1847836"/>
              <a:gd name="connsiteY87" fmla="*/ 1872467 h 1884363"/>
              <a:gd name="connsiteX88" fmla="*/ 823899 w 1847836"/>
              <a:gd name="connsiteY88" fmla="*/ 1877225 h 1884363"/>
              <a:gd name="connsiteX89" fmla="*/ 807230 w 1847836"/>
              <a:gd name="connsiteY89" fmla="*/ 1880398 h 1884363"/>
              <a:gd name="connsiteX90" fmla="*/ 788180 w 1847836"/>
              <a:gd name="connsiteY90" fmla="*/ 1882777 h 1884363"/>
              <a:gd name="connsiteX91" fmla="*/ 769924 w 1847836"/>
              <a:gd name="connsiteY91" fmla="*/ 1884363 h 1884363"/>
              <a:gd name="connsiteX92" fmla="*/ 751667 w 1847836"/>
              <a:gd name="connsiteY92" fmla="*/ 1882777 h 1884363"/>
              <a:gd name="connsiteX93" fmla="*/ 733411 w 1847836"/>
              <a:gd name="connsiteY93" fmla="*/ 1880398 h 1884363"/>
              <a:gd name="connsiteX94" fmla="*/ 715949 w 1847836"/>
              <a:gd name="connsiteY94" fmla="*/ 1877225 h 1884363"/>
              <a:gd name="connsiteX95" fmla="*/ 699280 w 1847836"/>
              <a:gd name="connsiteY95" fmla="*/ 1872467 h 1884363"/>
              <a:gd name="connsiteX96" fmla="*/ 683405 w 1847836"/>
              <a:gd name="connsiteY96" fmla="*/ 1866122 h 1884363"/>
              <a:gd name="connsiteX97" fmla="*/ 668324 w 1847836"/>
              <a:gd name="connsiteY97" fmla="*/ 1858985 h 1884363"/>
              <a:gd name="connsiteX98" fmla="*/ 654036 w 1847836"/>
              <a:gd name="connsiteY98" fmla="*/ 1849468 h 1884363"/>
              <a:gd name="connsiteX99" fmla="*/ 641336 w 1847836"/>
              <a:gd name="connsiteY99" fmla="*/ 1841537 h 1884363"/>
              <a:gd name="connsiteX100" fmla="*/ 629430 w 1847836"/>
              <a:gd name="connsiteY100" fmla="*/ 1830434 h 1884363"/>
              <a:gd name="connsiteX101" fmla="*/ 619905 w 1847836"/>
              <a:gd name="connsiteY101" fmla="*/ 1818537 h 1884363"/>
              <a:gd name="connsiteX102" fmla="*/ 610380 w 1847836"/>
              <a:gd name="connsiteY102" fmla="*/ 1806641 h 1884363"/>
              <a:gd name="connsiteX103" fmla="*/ 601649 w 1847836"/>
              <a:gd name="connsiteY103" fmla="*/ 1793952 h 1884363"/>
              <a:gd name="connsiteX104" fmla="*/ 596092 w 1847836"/>
              <a:gd name="connsiteY104" fmla="*/ 1781263 h 1884363"/>
              <a:gd name="connsiteX105" fmla="*/ 591330 w 1847836"/>
              <a:gd name="connsiteY105" fmla="*/ 1766987 h 1884363"/>
              <a:gd name="connsiteX106" fmla="*/ 588949 w 1847836"/>
              <a:gd name="connsiteY106" fmla="*/ 1752712 h 1884363"/>
              <a:gd name="connsiteX107" fmla="*/ 588949 w 1847836"/>
              <a:gd name="connsiteY107" fmla="*/ 1742611 h 1884363"/>
              <a:gd name="connsiteX108" fmla="*/ 588949 w 1847836"/>
              <a:gd name="connsiteY108" fmla="*/ 1729128 h 1884363"/>
              <a:gd name="connsiteX109" fmla="*/ 591330 w 1847836"/>
              <a:gd name="connsiteY109" fmla="*/ 1717232 h 1884363"/>
              <a:gd name="connsiteX110" fmla="*/ 594505 w 1847836"/>
              <a:gd name="connsiteY110" fmla="*/ 1706922 h 1884363"/>
              <a:gd name="connsiteX111" fmla="*/ 598474 w 1847836"/>
              <a:gd name="connsiteY111" fmla="*/ 1695819 h 1884363"/>
              <a:gd name="connsiteX112" fmla="*/ 603236 w 1847836"/>
              <a:gd name="connsiteY112" fmla="*/ 1686302 h 1884363"/>
              <a:gd name="connsiteX113" fmla="*/ 608793 w 1847836"/>
              <a:gd name="connsiteY113" fmla="*/ 1678371 h 1884363"/>
              <a:gd name="connsiteX114" fmla="*/ 613555 w 1847836"/>
              <a:gd name="connsiteY114" fmla="*/ 1671233 h 1884363"/>
              <a:gd name="connsiteX115" fmla="*/ 619905 w 1847836"/>
              <a:gd name="connsiteY115" fmla="*/ 1664096 h 1884363"/>
              <a:gd name="connsiteX116" fmla="*/ 631811 w 1847836"/>
              <a:gd name="connsiteY116" fmla="*/ 1653786 h 1884363"/>
              <a:gd name="connsiteX117" fmla="*/ 642130 w 1847836"/>
              <a:gd name="connsiteY117" fmla="*/ 1646648 h 1884363"/>
              <a:gd name="connsiteX118" fmla="*/ 651655 w 1847836"/>
              <a:gd name="connsiteY118" fmla="*/ 1640303 h 1884363"/>
              <a:gd name="connsiteX119" fmla="*/ 663561 w 1847836"/>
              <a:gd name="connsiteY119" fmla="*/ 1633165 h 1884363"/>
              <a:gd name="connsiteX120" fmla="*/ 673087 w 1847836"/>
              <a:gd name="connsiteY120" fmla="*/ 1626028 h 1884363"/>
              <a:gd name="connsiteX121" fmla="*/ 678643 w 1847836"/>
              <a:gd name="connsiteY121" fmla="*/ 1618890 h 1884363"/>
              <a:gd name="connsiteX122" fmla="*/ 683405 w 1847836"/>
              <a:gd name="connsiteY122" fmla="*/ 1610959 h 1884363"/>
              <a:gd name="connsiteX123" fmla="*/ 684993 w 1847836"/>
              <a:gd name="connsiteY123" fmla="*/ 1602235 h 1884363"/>
              <a:gd name="connsiteX124" fmla="*/ 683405 w 1847836"/>
              <a:gd name="connsiteY124" fmla="*/ 1595097 h 1884363"/>
              <a:gd name="connsiteX125" fmla="*/ 683405 w 1847836"/>
              <a:gd name="connsiteY125" fmla="*/ 1593302 h 1884363"/>
              <a:gd name="connsiteX126" fmla="*/ 682611 w 1847836"/>
              <a:gd name="connsiteY126" fmla="*/ 1588544 h 1884363"/>
              <a:gd name="connsiteX127" fmla="*/ 680230 w 1847836"/>
              <a:gd name="connsiteY127" fmla="*/ 1585371 h 1884363"/>
              <a:gd name="connsiteX128" fmla="*/ 676261 w 1847836"/>
              <a:gd name="connsiteY128" fmla="*/ 1580613 h 1884363"/>
              <a:gd name="connsiteX129" fmla="*/ 671499 w 1847836"/>
              <a:gd name="connsiteY129" fmla="*/ 1576648 h 1884363"/>
              <a:gd name="connsiteX130" fmla="*/ 666736 w 1847836"/>
              <a:gd name="connsiteY130" fmla="*/ 1574268 h 1884363"/>
              <a:gd name="connsiteX131" fmla="*/ 659592 w 1847836"/>
              <a:gd name="connsiteY131" fmla="*/ 1571889 h 1884363"/>
              <a:gd name="connsiteX132" fmla="*/ 651655 w 1847836"/>
              <a:gd name="connsiteY132" fmla="*/ 1571096 h 1884363"/>
              <a:gd name="connsiteX133" fmla="*/ 642130 w 1847836"/>
              <a:gd name="connsiteY133" fmla="*/ 1569510 h 1884363"/>
              <a:gd name="connsiteX134" fmla="*/ 0 w 1847836"/>
              <a:gd name="connsiteY134" fmla="*/ 1569510 h 1884363"/>
              <a:gd name="connsiteX135" fmla="*/ 0 w 1847836"/>
              <a:gd name="connsiteY135" fmla="*/ 0 h 1884363"/>
              <a:gd name="connsiteX136" fmla="*/ 673880 w 1847836"/>
              <a:gd name="connsiteY136" fmla="*/ 0 h 1884363"/>
              <a:gd name="connsiteX137" fmla="*/ 680230 w 1847836"/>
              <a:gd name="connsiteY137" fmla="*/ 6345 h 1884363"/>
              <a:gd name="connsiteX138" fmla="*/ 683405 w 1847836"/>
              <a:gd name="connsiteY138" fmla="*/ 11896 h 1884363"/>
              <a:gd name="connsiteX139" fmla="*/ 684281 w 1847836"/>
              <a:gd name="connsiteY139" fmla="*/ 15837 h 1884363"/>
              <a:gd name="connsiteX140" fmla="*/ 684134 w 1847836"/>
              <a:gd name="connsiteY140" fmla="*/ 16278 h 1884363"/>
              <a:gd name="connsiteX141" fmla="*/ 681750 w 1847836"/>
              <a:gd name="connsiteY141" fmla="*/ 21836 h 1884363"/>
              <a:gd name="connsiteX142" fmla="*/ 678572 w 1847836"/>
              <a:gd name="connsiteY142" fmla="*/ 26601 h 1884363"/>
              <a:gd name="connsiteX143" fmla="*/ 673805 w 1847836"/>
              <a:gd name="connsiteY143" fmla="*/ 32953 h 1884363"/>
              <a:gd name="connsiteX144" fmla="*/ 667448 w 1847836"/>
              <a:gd name="connsiteY144" fmla="*/ 37718 h 1884363"/>
              <a:gd name="connsiteX145" fmla="*/ 660297 w 1847836"/>
              <a:gd name="connsiteY145" fmla="*/ 42482 h 1884363"/>
              <a:gd name="connsiteX146" fmla="*/ 652352 w 1847836"/>
              <a:gd name="connsiteY146" fmla="*/ 47247 h 1884363"/>
              <a:gd name="connsiteX147" fmla="*/ 642817 w 1847836"/>
              <a:gd name="connsiteY147" fmla="*/ 52805 h 1884363"/>
              <a:gd name="connsiteX148" fmla="*/ 632488 w 1847836"/>
              <a:gd name="connsiteY148" fmla="*/ 59952 h 1884363"/>
              <a:gd name="connsiteX149" fmla="*/ 620570 w 1847836"/>
              <a:gd name="connsiteY149" fmla="*/ 71069 h 1884363"/>
              <a:gd name="connsiteX150" fmla="*/ 614213 w 1847836"/>
              <a:gd name="connsiteY150" fmla="*/ 78216 h 1884363"/>
              <a:gd name="connsiteX151" fmla="*/ 609446 w 1847836"/>
              <a:gd name="connsiteY151" fmla="*/ 85363 h 1884363"/>
              <a:gd name="connsiteX152" fmla="*/ 603884 w 1847836"/>
              <a:gd name="connsiteY152" fmla="*/ 93304 h 1884363"/>
              <a:gd name="connsiteX153" fmla="*/ 599117 w 1847836"/>
              <a:gd name="connsiteY153" fmla="*/ 102833 h 1884363"/>
              <a:gd name="connsiteX154" fmla="*/ 595144 w 1847836"/>
              <a:gd name="connsiteY154" fmla="*/ 113156 h 1884363"/>
              <a:gd name="connsiteX155" fmla="*/ 591966 w 1847836"/>
              <a:gd name="connsiteY155" fmla="*/ 124273 h 1884363"/>
              <a:gd name="connsiteX156" fmla="*/ 589582 w 1847836"/>
              <a:gd name="connsiteY156" fmla="*/ 136184 h 1884363"/>
              <a:gd name="connsiteX157" fmla="*/ 589582 w 1847836"/>
              <a:gd name="connsiteY157" fmla="*/ 142765 h 1884363"/>
              <a:gd name="connsiteX158" fmla="*/ 588949 w 1847836"/>
              <a:gd name="connsiteY158" fmla="*/ 145927 h 1884363"/>
              <a:gd name="connsiteX159" fmla="*/ 588949 w 1847836"/>
              <a:gd name="connsiteY159" fmla="*/ 159410 h 1884363"/>
              <a:gd name="connsiteX160" fmla="*/ 588949 w 1847836"/>
              <a:gd name="connsiteY160" fmla="*/ 174478 h 1884363"/>
              <a:gd name="connsiteX161" fmla="*/ 592124 w 1847836"/>
              <a:gd name="connsiteY161" fmla="*/ 188754 h 1884363"/>
              <a:gd name="connsiteX162" fmla="*/ 596092 w 1847836"/>
              <a:gd name="connsiteY162" fmla="*/ 203029 h 1884363"/>
              <a:gd name="connsiteX163" fmla="*/ 603236 w 1847836"/>
              <a:gd name="connsiteY163" fmla="*/ 215718 h 1884363"/>
              <a:gd name="connsiteX164" fmla="*/ 610380 w 1847836"/>
              <a:gd name="connsiteY164" fmla="*/ 229201 h 1884363"/>
              <a:gd name="connsiteX165" fmla="*/ 619905 w 1847836"/>
              <a:gd name="connsiteY165" fmla="*/ 241097 h 1884363"/>
              <a:gd name="connsiteX166" fmla="*/ 630224 w 1847836"/>
              <a:gd name="connsiteY166" fmla="*/ 252993 h 1884363"/>
              <a:gd name="connsiteX167" fmla="*/ 642130 w 1847836"/>
              <a:gd name="connsiteY167" fmla="*/ 262510 h 1884363"/>
              <a:gd name="connsiteX168" fmla="*/ 654036 w 1847836"/>
              <a:gd name="connsiteY168" fmla="*/ 272027 h 1884363"/>
              <a:gd name="connsiteX169" fmla="*/ 668324 w 1847836"/>
              <a:gd name="connsiteY169" fmla="*/ 279958 h 1884363"/>
              <a:gd name="connsiteX170" fmla="*/ 683405 w 1847836"/>
              <a:gd name="connsiteY170" fmla="*/ 288682 h 1884363"/>
              <a:gd name="connsiteX171" fmla="*/ 699280 w 1847836"/>
              <a:gd name="connsiteY171" fmla="*/ 294233 h 1884363"/>
              <a:gd name="connsiteX172" fmla="*/ 715949 w 1847836"/>
              <a:gd name="connsiteY172" fmla="*/ 298992 h 1884363"/>
              <a:gd name="connsiteX173" fmla="*/ 733411 w 1847836"/>
              <a:gd name="connsiteY173" fmla="*/ 302957 h 1884363"/>
              <a:gd name="connsiteX174" fmla="*/ 751667 w 1847836"/>
              <a:gd name="connsiteY174" fmla="*/ 305337 h 1884363"/>
              <a:gd name="connsiteX175" fmla="*/ 769924 w 1847836"/>
              <a:gd name="connsiteY175" fmla="*/ 306130 h 1884363"/>
              <a:gd name="connsiteX176" fmla="*/ 788974 w 1847836"/>
              <a:gd name="connsiteY176" fmla="*/ 305337 h 1884363"/>
              <a:gd name="connsiteX177" fmla="*/ 807230 w 1847836"/>
              <a:gd name="connsiteY177" fmla="*/ 302957 h 1884363"/>
              <a:gd name="connsiteX178" fmla="*/ 824692 w 1847836"/>
              <a:gd name="connsiteY178" fmla="*/ 298992 h 1884363"/>
              <a:gd name="connsiteX179" fmla="*/ 841361 w 1847836"/>
              <a:gd name="connsiteY179" fmla="*/ 294233 h 1884363"/>
              <a:gd name="connsiteX180" fmla="*/ 857236 w 1847836"/>
              <a:gd name="connsiteY180" fmla="*/ 288682 h 1884363"/>
              <a:gd name="connsiteX181" fmla="*/ 872317 w 1847836"/>
              <a:gd name="connsiteY181" fmla="*/ 279958 h 1884363"/>
              <a:gd name="connsiteX182" fmla="*/ 886605 w 1847836"/>
              <a:gd name="connsiteY182" fmla="*/ 272027 h 1884363"/>
              <a:gd name="connsiteX183" fmla="*/ 899305 w 1847836"/>
              <a:gd name="connsiteY183" fmla="*/ 262510 h 1884363"/>
              <a:gd name="connsiteX184" fmla="*/ 910417 w 1847836"/>
              <a:gd name="connsiteY184" fmla="*/ 252993 h 1884363"/>
              <a:gd name="connsiteX185" fmla="*/ 920736 w 1847836"/>
              <a:gd name="connsiteY185" fmla="*/ 241097 h 1884363"/>
              <a:gd name="connsiteX186" fmla="*/ 930261 w 1847836"/>
              <a:gd name="connsiteY186" fmla="*/ 229201 h 1884363"/>
              <a:gd name="connsiteX187" fmla="*/ 937405 w 1847836"/>
              <a:gd name="connsiteY187" fmla="*/ 215718 h 1884363"/>
              <a:gd name="connsiteX188" fmla="*/ 944549 w 1847836"/>
              <a:gd name="connsiteY188" fmla="*/ 203029 h 1884363"/>
              <a:gd name="connsiteX189" fmla="*/ 948517 w 1847836"/>
              <a:gd name="connsiteY189" fmla="*/ 188754 h 1884363"/>
              <a:gd name="connsiteX190" fmla="*/ 951692 w 1847836"/>
              <a:gd name="connsiteY190" fmla="*/ 174478 h 1884363"/>
              <a:gd name="connsiteX191" fmla="*/ 953280 w 1847836"/>
              <a:gd name="connsiteY191" fmla="*/ 159410 h 1884363"/>
              <a:gd name="connsiteX192" fmla="*/ 953253 w 1847836"/>
              <a:gd name="connsiteY192" fmla="*/ 159178 h 1884363"/>
              <a:gd name="connsiteX193" fmla="*/ 954282 w 1847836"/>
              <a:gd name="connsiteY193" fmla="*/ 148890 h 1884363"/>
              <a:gd name="connsiteX194" fmla="*/ 952693 w 1847836"/>
              <a:gd name="connsiteY194" fmla="*/ 136184 h 1884363"/>
              <a:gd name="connsiteX195" fmla="*/ 950309 w 1847836"/>
              <a:gd name="connsiteY195" fmla="*/ 124273 h 1884363"/>
              <a:gd name="connsiteX196" fmla="*/ 947926 w 1847836"/>
              <a:gd name="connsiteY196" fmla="*/ 113156 h 1884363"/>
              <a:gd name="connsiteX197" fmla="*/ 943158 w 1847836"/>
              <a:gd name="connsiteY197" fmla="*/ 102833 h 1884363"/>
              <a:gd name="connsiteX198" fmla="*/ 938391 w 1847836"/>
              <a:gd name="connsiteY198" fmla="*/ 93304 h 1884363"/>
              <a:gd name="connsiteX199" fmla="*/ 933624 w 1847836"/>
              <a:gd name="connsiteY199" fmla="*/ 85363 h 1884363"/>
              <a:gd name="connsiteX200" fmla="*/ 928062 w 1847836"/>
              <a:gd name="connsiteY200" fmla="*/ 78216 h 1884363"/>
              <a:gd name="connsiteX201" fmla="*/ 921705 w 1847836"/>
              <a:gd name="connsiteY201" fmla="*/ 71069 h 1884363"/>
              <a:gd name="connsiteX202" fmla="*/ 909787 w 1847836"/>
              <a:gd name="connsiteY202" fmla="*/ 59952 h 1884363"/>
              <a:gd name="connsiteX203" fmla="*/ 899458 w 1847836"/>
              <a:gd name="connsiteY203" fmla="*/ 52805 h 1884363"/>
              <a:gd name="connsiteX204" fmla="*/ 889923 w 1847836"/>
              <a:gd name="connsiteY204" fmla="*/ 47247 h 1884363"/>
              <a:gd name="connsiteX205" fmla="*/ 881978 w 1847836"/>
              <a:gd name="connsiteY205" fmla="*/ 42482 h 1884363"/>
              <a:gd name="connsiteX206" fmla="*/ 874827 w 1847836"/>
              <a:gd name="connsiteY206" fmla="*/ 37718 h 1884363"/>
              <a:gd name="connsiteX207" fmla="*/ 868470 w 1847836"/>
              <a:gd name="connsiteY207" fmla="*/ 32953 h 1884363"/>
              <a:gd name="connsiteX208" fmla="*/ 863703 w 1847836"/>
              <a:gd name="connsiteY208" fmla="*/ 26601 h 1884363"/>
              <a:gd name="connsiteX209" fmla="*/ 860525 w 1847836"/>
              <a:gd name="connsiteY209" fmla="*/ 21836 h 1884363"/>
              <a:gd name="connsiteX210" fmla="*/ 858141 w 1847836"/>
              <a:gd name="connsiteY210" fmla="*/ 16278 h 1884363"/>
              <a:gd name="connsiteX211" fmla="*/ 857014 w 1847836"/>
              <a:gd name="connsiteY211" fmla="*/ 12897 h 1884363"/>
              <a:gd name="connsiteX212" fmla="*/ 857236 w 1847836"/>
              <a:gd name="connsiteY212" fmla="*/ 11896 h 1884363"/>
              <a:gd name="connsiteX213" fmla="*/ 860411 w 1847836"/>
              <a:gd name="connsiteY213" fmla="*/ 6345 h 1884363"/>
              <a:gd name="connsiteX214" fmla="*/ 866761 w 1847836"/>
              <a:gd name="connsiteY214" fmla="*/ 0 h 1884363"/>
              <a:gd name="connsiteX215" fmla="*/ 1534305 w 1847836"/>
              <a:gd name="connsiteY215" fmla="*/ 0 h 1884363"/>
              <a:gd name="connsiteX216" fmla="*/ 1534305 w 1847836"/>
              <a:gd name="connsiteY216" fmla="*/ 636053 h 1884363"/>
              <a:gd name="connsiteX217" fmla="*/ 1534305 w 1847836"/>
              <a:gd name="connsiteY217" fmla="*/ 645570 h 1884363"/>
              <a:gd name="connsiteX218" fmla="*/ 1535892 w 1847836"/>
              <a:gd name="connsiteY218" fmla="*/ 653500 h 1884363"/>
              <a:gd name="connsiteX219" fmla="*/ 1538273 w 1847836"/>
              <a:gd name="connsiteY219" fmla="*/ 660638 h 1884363"/>
              <a:gd name="connsiteX220" fmla="*/ 1541448 w 1847836"/>
              <a:gd name="connsiteY220" fmla="*/ 666190 h 1884363"/>
              <a:gd name="connsiteX221" fmla="*/ 1545417 w 1847836"/>
              <a:gd name="connsiteY221" fmla="*/ 670948 h 1884363"/>
              <a:gd name="connsiteX222" fmla="*/ 1548592 w 1847836"/>
              <a:gd name="connsiteY222" fmla="*/ 674914 h 1884363"/>
              <a:gd name="connsiteX223" fmla="*/ 1553355 w 1847836"/>
              <a:gd name="connsiteY223" fmla="*/ 677293 h 1884363"/>
              <a:gd name="connsiteX224" fmla="*/ 1558117 w 1847836"/>
              <a:gd name="connsiteY224" fmla="*/ 678086 h 1884363"/>
              <a:gd name="connsiteX225" fmla="*/ 1562880 w 1847836"/>
              <a:gd name="connsiteY225" fmla="*/ 678086 h 1884363"/>
              <a:gd name="connsiteX226" fmla="*/ 1569230 w 1847836"/>
              <a:gd name="connsiteY226" fmla="*/ 677293 h 1884363"/>
              <a:gd name="connsiteX227" fmla="*/ 1573992 w 1847836"/>
              <a:gd name="connsiteY227" fmla="*/ 674914 h 1884363"/>
              <a:gd name="connsiteX228" fmla="*/ 1579548 w 1847836"/>
              <a:gd name="connsiteY228" fmla="*/ 670948 h 1884363"/>
              <a:gd name="connsiteX229" fmla="*/ 1584311 w 1847836"/>
              <a:gd name="connsiteY229" fmla="*/ 666190 h 1884363"/>
              <a:gd name="connsiteX230" fmla="*/ 1584599 w 1847836"/>
              <a:gd name="connsiteY230" fmla="*/ 665854 h 1884363"/>
              <a:gd name="connsiteX231" fmla="*/ 1588281 w 1847836"/>
              <a:gd name="connsiteY231" fmla="*/ 664014 h 1884363"/>
              <a:gd name="connsiteX232" fmla="*/ 1593043 w 1847836"/>
              <a:gd name="connsiteY232" fmla="*/ 659253 h 1884363"/>
              <a:gd name="connsiteX233" fmla="*/ 1598599 w 1847836"/>
              <a:gd name="connsiteY233" fmla="*/ 653699 h 1884363"/>
              <a:gd name="connsiteX234" fmla="*/ 1603362 w 1847836"/>
              <a:gd name="connsiteY234" fmla="*/ 646558 h 1884363"/>
              <a:gd name="connsiteX235" fmla="*/ 1608124 w 1847836"/>
              <a:gd name="connsiteY235" fmla="*/ 639417 h 1884363"/>
              <a:gd name="connsiteX236" fmla="*/ 1614474 w 1847836"/>
              <a:gd name="connsiteY236" fmla="*/ 628308 h 1884363"/>
              <a:gd name="connsiteX237" fmla="*/ 1621618 w 1847836"/>
              <a:gd name="connsiteY237" fmla="*/ 618787 h 1884363"/>
              <a:gd name="connsiteX238" fmla="*/ 1631937 w 1847836"/>
              <a:gd name="connsiteY238" fmla="*/ 606885 h 1884363"/>
              <a:gd name="connsiteX239" fmla="*/ 1636499 w 1847836"/>
              <a:gd name="connsiteY239" fmla="*/ 603338 h 1884363"/>
              <a:gd name="connsiteX240" fmla="*/ 1637492 w 1847836"/>
              <a:gd name="connsiteY240" fmla="*/ 602743 h 1884363"/>
              <a:gd name="connsiteX241" fmla="*/ 1646223 w 1847836"/>
              <a:gd name="connsiteY241" fmla="*/ 596399 h 1884363"/>
              <a:gd name="connsiteX242" fmla="*/ 1655748 w 1847836"/>
              <a:gd name="connsiteY242" fmla="*/ 591640 h 1884363"/>
              <a:gd name="connsiteX243" fmla="*/ 1665273 w 1847836"/>
              <a:gd name="connsiteY243" fmla="*/ 588468 h 1884363"/>
              <a:gd name="connsiteX244" fmla="*/ 1677180 w 1847836"/>
              <a:gd name="connsiteY244" fmla="*/ 584502 h 1884363"/>
              <a:gd name="connsiteX245" fmla="*/ 1689086 w 1847836"/>
              <a:gd name="connsiteY245" fmla="*/ 582123 h 1884363"/>
              <a:gd name="connsiteX246" fmla="*/ 1701786 w 1847836"/>
              <a:gd name="connsiteY246" fmla="*/ 582123 h 1884363"/>
              <a:gd name="connsiteX247" fmla="*/ 1716073 w 1847836"/>
              <a:gd name="connsiteY247" fmla="*/ 582123 h 1884363"/>
              <a:gd name="connsiteX248" fmla="*/ 1731155 w 1847836"/>
              <a:gd name="connsiteY248" fmla="*/ 586088 h 1884363"/>
              <a:gd name="connsiteX249" fmla="*/ 1744648 w 1847836"/>
              <a:gd name="connsiteY249" fmla="*/ 590847 h 1884363"/>
              <a:gd name="connsiteX250" fmla="*/ 1758936 w 1847836"/>
              <a:gd name="connsiteY250" fmla="*/ 596399 h 1884363"/>
              <a:gd name="connsiteX251" fmla="*/ 1770842 w 1847836"/>
              <a:gd name="connsiteY251" fmla="*/ 603536 h 1884363"/>
              <a:gd name="connsiteX252" fmla="*/ 1783542 w 1847836"/>
              <a:gd name="connsiteY252" fmla="*/ 613053 h 1884363"/>
              <a:gd name="connsiteX253" fmla="*/ 1794655 w 1847836"/>
              <a:gd name="connsiteY253" fmla="*/ 624156 h 1884363"/>
              <a:gd name="connsiteX254" fmla="*/ 1804973 w 1847836"/>
              <a:gd name="connsiteY254" fmla="*/ 636053 h 1884363"/>
              <a:gd name="connsiteX255" fmla="*/ 1814498 w 1847836"/>
              <a:gd name="connsiteY255" fmla="*/ 647949 h 1884363"/>
              <a:gd name="connsiteX256" fmla="*/ 1822436 w 1847836"/>
              <a:gd name="connsiteY256" fmla="*/ 662224 h 1884363"/>
              <a:gd name="connsiteX257" fmla="*/ 1829580 w 1847836"/>
              <a:gd name="connsiteY257" fmla="*/ 677293 h 1884363"/>
              <a:gd name="connsiteX258" fmla="*/ 1835930 w 1847836"/>
              <a:gd name="connsiteY258" fmla="*/ 692361 h 1884363"/>
              <a:gd name="connsiteX259" fmla="*/ 1840692 w 1847836"/>
              <a:gd name="connsiteY259" fmla="*/ 709016 h 1884363"/>
              <a:gd name="connsiteX260" fmla="*/ 1845455 w 1847836"/>
              <a:gd name="connsiteY260" fmla="*/ 727257 h 1884363"/>
              <a:gd name="connsiteX261" fmla="*/ 1846248 w 1847836"/>
              <a:gd name="connsiteY261" fmla="*/ 744705 h 1884363"/>
              <a:gd name="connsiteX262" fmla="*/ 1847836 w 1847836"/>
              <a:gd name="connsiteY262" fmla="*/ 763739 h 188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Lst>
            <a:rect l="l" t="t" r="r" b="b"/>
            <a:pathLst>
              <a:path w="1847836" h="1884363">
                <a:moveTo>
                  <a:pt x="1847836" y="763739"/>
                </a:moveTo>
                <a:lnTo>
                  <a:pt x="1846248" y="782773"/>
                </a:lnTo>
                <a:lnTo>
                  <a:pt x="1845455" y="800221"/>
                </a:lnTo>
                <a:lnTo>
                  <a:pt x="1840692" y="818461"/>
                </a:lnTo>
                <a:lnTo>
                  <a:pt x="1835930" y="835116"/>
                </a:lnTo>
                <a:lnTo>
                  <a:pt x="1829580" y="850185"/>
                </a:lnTo>
                <a:lnTo>
                  <a:pt x="1822436" y="866046"/>
                </a:lnTo>
                <a:lnTo>
                  <a:pt x="1814498" y="880322"/>
                </a:lnTo>
                <a:lnTo>
                  <a:pt x="1804973" y="893011"/>
                </a:lnTo>
                <a:lnTo>
                  <a:pt x="1795104" y="904389"/>
                </a:lnTo>
                <a:lnTo>
                  <a:pt x="1792274" y="906814"/>
                </a:lnTo>
                <a:lnTo>
                  <a:pt x="1780368" y="916336"/>
                </a:lnTo>
                <a:lnTo>
                  <a:pt x="1767668" y="925064"/>
                </a:lnTo>
                <a:lnTo>
                  <a:pt x="1754174" y="930618"/>
                </a:lnTo>
                <a:lnTo>
                  <a:pt x="1739887" y="935379"/>
                </a:lnTo>
                <a:lnTo>
                  <a:pt x="1725599" y="937759"/>
                </a:lnTo>
                <a:lnTo>
                  <a:pt x="1710518" y="939346"/>
                </a:lnTo>
                <a:lnTo>
                  <a:pt x="1697024" y="937759"/>
                </a:lnTo>
                <a:lnTo>
                  <a:pt x="1685912" y="935379"/>
                </a:lnTo>
                <a:lnTo>
                  <a:pt x="1674799" y="932998"/>
                </a:lnTo>
                <a:lnTo>
                  <a:pt x="1664481" y="928238"/>
                </a:lnTo>
                <a:lnTo>
                  <a:pt x="1654956" y="923477"/>
                </a:lnTo>
                <a:lnTo>
                  <a:pt x="1646224" y="918716"/>
                </a:lnTo>
                <a:lnTo>
                  <a:pt x="1639081" y="913162"/>
                </a:lnTo>
                <a:lnTo>
                  <a:pt x="1631937" y="906814"/>
                </a:lnTo>
                <a:lnTo>
                  <a:pt x="1621618" y="894912"/>
                </a:lnTo>
                <a:lnTo>
                  <a:pt x="1614474" y="884597"/>
                </a:lnTo>
                <a:lnTo>
                  <a:pt x="1608124" y="875076"/>
                </a:lnTo>
                <a:lnTo>
                  <a:pt x="1603362" y="867141"/>
                </a:lnTo>
                <a:lnTo>
                  <a:pt x="1598599" y="860000"/>
                </a:lnTo>
                <a:lnTo>
                  <a:pt x="1593043" y="853652"/>
                </a:lnTo>
                <a:lnTo>
                  <a:pt x="1588281" y="848891"/>
                </a:lnTo>
                <a:lnTo>
                  <a:pt x="1581931" y="845717"/>
                </a:lnTo>
                <a:lnTo>
                  <a:pt x="1577168" y="843337"/>
                </a:lnTo>
                <a:lnTo>
                  <a:pt x="1571612" y="843337"/>
                </a:lnTo>
                <a:lnTo>
                  <a:pt x="1566849" y="843337"/>
                </a:lnTo>
                <a:lnTo>
                  <a:pt x="1562087" y="844130"/>
                </a:lnTo>
                <a:lnTo>
                  <a:pt x="1557324" y="846511"/>
                </a:lnTo>
                <a:lnTo>
                  <a:pt x="1554542" y="849987"/>
                </a:lnTo>
                <a:lnTo>
                  <a:pt x="1553355" y="850185"/>
                </a:lnTo>
                <a:lnTo>
                  <a:pt x="1548592" y="852564"/>
                </a:lnTo>
                <a:lnTo>
                  <a:pt x="1545417" y="856529"/>
                </a:lnTo>
                <a:lnTo>
                  <a:pt x="1541448" y="861288"/>
                </a:lnTo>
                <a:lnTo>
                  <a:pt x="1538273" y="866839"/>
                </a:lnTo>
                <a:lnTo>
                  <a:pt x="1535892" y="873977"/>
                </a:lnTo>
                <a:lnTo>
                  <a:pt x="1534305" y="882701"/>
                </a:lnTo>
                <a:lnTo>
                  <a:pt x="1534305" y="892218"/>
                </a:lnTo>
                <a:lnTo>
                  <a:pt x="1534305" y="1569510"/>
                </a:lnTo>
                <a:lnTo>
                  <a:pt x="896924" y="1569510"/>
                </a:lnTo>
                <a:lnTo>
                  <a:pt x="888986" y="1571096"/>
                </a:lnTo>
                <a:lnTo>
                  <a:pt x="881049" y="1571889"/>
                </a:lnTo>
                <a:lnTo>
                  <a:pt x="873905" y="1574268"/>
                </a:lnTo>
                <a:lnTo>
                  <a:pt x="867555" y="1576648"/>
                </a:lnTo>
                <a:lnTo>
                  <a:pt x="862792" y="1580613"/>
                </a:lnTo>
                <a:lnTo>
                  <a:pt x="859617" y="1585371"/>
                </a:lnTo>
                <a:lnTo>
                  <a:pt x="857236" y="1588544"/>
                </a:lnTo>
                <a:lnTo>
                  <a:pt x="855649" y="1593302"/>
                </a:lnTo>
                <a:lnTo>
                  <a:pt x="855649" y="1599647"/>
                </a:lnTo>
                <a:lnTo>
                  <a:pt x="855995" y="1600682"/>
                </a:lnTo>
                <a:lnTo>
                  <a:pt x="855649" y="1602235"/>
                </a:lnTo>
                <a:lnTo>
                  <a:pt x="858030" y="1610959"/>
                </a:lnTo>
                <a:lnTo>
                  <a:pt x="861999" y="1618890"/>
                </a:lnTo>
                <a:lnTo>
                  <a:pt x="867555" y="1626028"/>
                </a:lnTo>
                <a:lnTo>
                  <a:pt x="877080" y="1633165"/>
                </a:lnTo>
                <a:lnTo>
                  <a:pt x="888987" y="1640303"/>
                </a:lnTo>
                <a:lnTo>
                  <a:pt x="898512" y="1646648"/>
                </a:lnTo>
                <a:lnTo>
                  <a:pt x="908830" y="1653786"/>
                </a:lnTo>
                <a:lnTo>
                  <a:pt x="920737" y="1664096"/>
                </a:lnTo>
                <a:lnTo>
                  <a:pt x="927087" y="1671233"/>
                </a:lnTo>
                <a:lnTo>
                  <a:pt x="932643" y="1678371"/>
                </a:lnTo>
                <a:lnTo>
                  <a:pt x="937405" y="1686302"/>
                </a:lnTo>
                <a:lnTo>
                  <a:pt x="942168" y="1695819"/>
                </a:lnTo>
                <a:lnTo>
                  <a:pt x="946930" y="1706922"/>
                </a:lnTo>
                <a:lnTo>
                  <a:pt x="949312" y="1717232"/>
                </a:lnTo>
                <a:lnTo>
                  <a:pt x="951692" y="1729123"/>
                </a:lnTo>
                <a:lnTo>
                  <a:pt x="951692" y="1736850"/>
                </a:lnTo>
                <a:lnTo>
                  <a:pt x="950899" y="1752712"/>
                </a:lnTo>
                <a:lnTo>
                  <a:pt x="948517" y="1766987"/>
                </a:lnTo>
                <a:lnTo>
                  <a:pt x="943755" y="1781263"/>
                </a:lnTo>
                <a:lnTo>
                  <a:pt x="937405" y="1793952"/>
                </a:lnTo>
                <a:lnTo>
                  <a:pt x="930261" y="1806641"/>
                </a:lnTo>
                <a:lnTo>
                  <a:pt x="920736" y="1818537"/>
                </a:lnTo>
                <a:lnTo>
                  <a:pt x="910417" y="1830434"/>
                </a:lnTo>
                <a:lnTo>
                  <a:pt x="898511" y="1841537"/>
                </a:lnTo>
                <a:lnTo>
                  <a:pt x="885017" y="1849468"/>
                </a:lnTo>
                <a:lnTo>
                  <a:pt x="872317" y="1858985"/>
                </a:lnTo>
                <a:lnTo>
                  <a:pt x="857236" y="1866122"/>
                </a:lnTo>
                <a:lnTo>
                  <a:pt x="840567" y="1872467"/>
                </a:lnTo>
                <a:lnTo>
                  <a:pt x="823899" y="1877225"/>
                </a:lnTo>
                <a:lnTo>
                  <a:pt x="807230" y="1880398"/>
                </a:lnTo>
                <a:lnTo>
                  <a:pt x="788180" y="1882777"/>
                </a:lnTo>
                <a:lnTo>
                  <a:pt x="769924" y="1884363"/>
                </a:lnTo>
                <a:lnTo>
                  <a:pt x="751667" y="1882777"/>
                </a:lnTo>
                <a:lnTo>
                  <a:pt x="733411" y="1880398"/>
                </a:lnTo>
                <a:lnTo>
                  <a:pt x="715949" y="1877225"/>
                </a:lnTo>
                <a:lnTo>
                  <a:pt x="699280" y="1872467"/>
                </a:lnTo>
                <a:lnTo>
                  <a:pt x="683405" y="1866122"/>
                </a:lnTo>
                <a:lnTo>
                  <a:pt x="668324" y="1858985"/>
                </a:lnTo>
                <a:lnTo>
                  <a:pt x="654036" y="1849468"/>
                </a:lnTo>
                <a:lnTo>
                  <a:pt x="641336" y="1841537"/>
                </a:lnTo>
                <a:lnTo>
                  <a:pt x="629430" y="1830434"/>
                </a:lnTo>
                <a:lnTo>
                  <a:pt x="619905" y="1818537"/>
                </a:lnTo>
                <a:lnTo>
                  <a:pt x="610380" y="1806641"/>
                </a:lnTo>
                <a:lnTo>
                  <a:pt x="601649" y="1793952"/>
                </a:lnTo>
                <a:lnTo>
                  <a:pt x="596092" y="1781263"/>
                </a:lnTo>
                <a:lnTo>
                  <a:pt x="591330" y="1766987"/>
                </a:lnTo>
                <a:lnTo>
                  <a:pt x="588949" y="1752712"/>
                </a:lnTo>
                <a:lnTo>
                  <a:pt x="588949" y="1742611"/>
                </a:lnTo>
                <a:lnTo>
                  <a:pt x="588949" y="1729128"/>
                </a:lnTo>
                <a:lnTo>
                  <a:pt x="591330" y="1717232"/>
                </a:lnTo>
                <a:lnTo>
                  <a:pt x="594505" y="1706922"/>
                </a:lnTo>
                <a:lnTo>
                  <a:pt x="598474" y="1695819"/>
                </a:lnTo>
                <a:lnTo>
                  <a:pt x="603236" y="1686302"/>
                </a:lnTo>
                <a:lnTo>
                  <a:pt x="608793" y="1678371"/>
                </a:lnTo>
                <a:lnTo>
                  <a:pt x="613555" y="1671233"/>
                </a:lnTo>
                <a:lnTo>
                  <a:pt x="619905" y="1664096"/>
                </a:lnTo>
                <a:lnTo>
                  <a:pt x="631811" y="1653786"/>
                </a:lnTo>
                <a:lnTo>
                  <a:pt x="642130" y="1646648"/>
                </a:lnTo>
                <a:lnTo>
                  <a:pt x="651655" y="1640303"/>
                </a:lnTo>
                <a:lnTo>
                  <a:pt x="663561" y="1633165"/>
                </a:lnTo>
                <a:lnTo>
                  <a:pt x="673087" y="1626028"/>
                </a:lnTo>
                <a:lnTo>
                  <a:pt x="678643" y="1618890"/>
                </a:lnTo>
                <a:lnTo>
                  <a:pt x="683405" y="1610959"/>
                </a:lnTo>
                <a:lnTo>
                  <a:pt x="684993" y="1602235"/>
                </a:lnTo>
                <a:lnTo>
                  <a:pt x="683405" y="1595097"/>
                </a:lnTo>
                <a:lnTo>
                  <a:pt x="683405" y="1593302"/>
                </a:lnTo>
                <a:lnTo>
                  <a:pt x="682611" y="1588544"/>
                </a:lnTo>
                <a:lnTo>
                  <a:pt x="680230" y="1585371"/>
                </a:lnTo>
                <a:lnTo>
                  <a:pt x="676261" y="1580613"/>
                </a:lnTo>
                <a:lnTo>
                  <a:pt x="671499" y="1576648"/>
                </a:lnTo>
                <a:lnTo>
                  <a:pt x="666736" y="1574268"/>
                </a:lnTo>
                <a:lnTo>
                  <a:pt x="659592" y="1571889"/>
                </a:lnTo>
                <a:lnTo>
                  <a:pt x="651655" y="1571096"/>
                </a:lnTo>
                <a:lnTo>
                  <a:pt x="642130" y="1569510"/>
                </a:lnTo>
                <a:lnTo>
                  <a:pt x="0" y="1569510"/>
                </a:lnTo>
                <a:lnTo>
                  <a:pt x="0" y="0"/>
                </a:lnTo>
                <a:lnTo>
                  <a:pt x="673880" y="0"/>
                </a:lnTo>
                <a:lnTo>
                  <a:pt x="680230" y="6345"/>
                </a:lnTo>
                <a:lnTo>
                  <a:pt x="683405" y="11896"/>
                </a:lnTo>
                <a:lnTo>
                  <a:pt x="684281" y="15837"/>
                </a:lnTo>
                <a:lnTo>
                  <a:pt x="684134" y="16278"/>
                </a:lnTo>
                <a:lnTo>
                  <a:pt x="681750" y="21836"/>
                </a:lnTo>
                <a:lnTo>
                  <a:pt x="678572" y="26601"/>
                </a:lnTo>
                <a:lnTo>
                  <a:pt x="673805" y="32953"/>
                </a:lnTo>
                <a:lnTo>
                  <a:pt x="667448" y="37718"/>
                </a:lnTo>
                <a:lnTo>
                  <a:pt x="660297" y="42482"/>
                </a:lnTo>
                <a:lnTo>
                  <a:pt x="652352" y="47247"/>
                </a:lnTo>
                <a:lnTo>
                  <a:pt x="642817" y="52805"/>
                </a:lnTo>
                <a:lnTo>
                  <a:pt x="632488" y="59952"/>
                </a:lnTo>
                <a:lnTo>
                  <a:pt x="620570" y="71069"/>
                </a:lnTo>
                <a:lnTo>
                  <a:pt x="614213" y="78216"/>
                </a:lnTo>
                <a:lnTo>
                  <a:pt x="609446" y="85363"/>
                </a:lnTo>
                <a:lnTo>
                  <a:pt x="603884" y="93304"/>
                </a:lnTo>
                <a:lnTo>
                  <a:pt x="599117" y="102833"/>
                </a:lnTo>
                <a:lnTo>
                  <a:pt x="595144" y="113156"/>
                </a:lnTo>
                <a:lnTo>
                  <a:pt x="591966" y="124273"/>
                </a:lnTo>
                <a:lnTo>
                  <a:pt x="589582" y="136184"/>
                </a:lnTo>
                <a:lnTo>
                  <a:pt x="589582" y="142765"/>
                </a:lnTo>
                <a:lnTo>
                  <a:pt x="588949" y="145927"/>
                </a:lnTo>
                <a:lnTo>
                  <a:pt x="588949" y="159410"/>
                </a:lnTo>
                <a:lnTo>
                  <a:pt x="588949" y="174478"/>
                </a:lnTo>
                <a:lnTo>
                  <a:pt x="592124" y="188754"/>
                </a:lnTo>
                <a:lnTo>
                  <a:pt x="596092" y="203029"/>
                </a:lnTo>
                <a:lnTo>
                  <a:pt x="603236" y="215718"/>
                </a:lnTo>
                <a:lnTo>
                  <a:pt x="610380" y="229201"/>
                </a:lnTo>
                <a:lnTo>
                  <a:pt x="619905" y="241097"/>
                </a:lnTo>
                <a:lnTo>
                  <a:pt x="630224" y="252993"/>
                </a:lnTo>
                <a:lnTo>
                  <a:pt x="642130" y="262510"/>
                </a:lnTo>
                <a:lnTo>
                  <a:pt x="654036" y="272027"/>
                </a:lnTo>
                <a:lnTo>
                  <a:pt x="668324" y="279958"/>
                </a:lnTo>
                <a:lnTo>
                  <a:pt x="683405" y="288682"/>
                </a:lnTo>
                <a:lnTo>
                  <a:pt x="699280" y="294233"/>
                </a:lnTo>
                <a:lnTo>
                  <a:pt x="715949" y="298992"/>
                </a:lnTo>
                <a:lnTo>
                  <a:pt x="733411" y="302957"/>
                </a:lnTo>
                <a:lnTo>
                  <a:pt x="751667" y="305337"/>
                </a:lnTo>
                <a:lnTo>
                  <a:pt x="769924" y="306130"/>
                </a:lnTo>
                <a:lnTo>
                  <a:pt x="788974" y="305337"/>
                </a:lnTo>
                <a:lnTo>
                  <a:pt x="807230" y="302957"/>
                </a:lnTo>
                <a:lnTo>
                  <a:pt x="824692" y="298992"/>
                </a:lnTo>
                <a:lnTo>
                  <a:pt x="841361" y="294233"/>
                </a:lnTo>
                <a:lnTo>
                  <a:pt x="857236" y="288682"/>
                </a:lnTo>
                <a:lnTo>
                  <a:pt x="872317" y="279958"/>
                </a:lnTo>
                <a:lnTo>
                  <a:pt x="886605" y="272027"/>
                </a:lnTo>
                <a:lnTo>
                  <a:pt x="899305" y="262510"/>
                </a:lnTo>
                <a:lnTo>
                  <a:pt x="910417" y="252993"/>
                </a:lnTo>
                <a:lnTo>
                  <a:pt x="920736" y="241097"/>
                </a:lnTo>
                <a:lnTo>
                  <a:pt x="930261" y="229201"/>
                </a:lnTo>
                <a:lnTo>
                  <a:pt x="937405" y="215718"/>
                </a:lnTo>
                <a:lnTo>
                  <a:pt x="944549" y="203029"/>
                </a:lnTo>
                <a:lnTo>
                  <a:pt x="948517" y="188754"/>
                </a:lnTo>
                <a:lnTo>
                  <a:pt x="951692" y="174478"/>
                </a:lnTo>
                <a:lnTo>
                  <a:pt x="953280" y="159410"/>
                </a:lnTo>
                <a:lnTo>
                  <a:pt x="953253" y="159178"/>
                </a:lnTo>
                <a:lnTo>
                  <a:pt x="954282" y="148890"/>
                </a:lnTo>
                <a:lnTo>
                  <a:pt x="952693" y="136184"/>
                </a:lnTo>
                <a:lnTo>
                  <a:pt x="950309" y="124273"/>
                </a:lnTo>
                <a:lnTo>
                  <a:pt x="947926" y="113156"/>
                </a:lnTo>
                <a:lnTo>
                  <a:pt x="943158" y="102833"/>
                </a:lnTo>
                <a:lnTo>
                  <a:pt x="938391" y="93304"/>
                </a:lnTo>
                <a:lnTo>
                  <a:pt x="933624" y="85363"/>
                </a:lnTo>
                <a:lnTo>
                  <a:pt x="928062" y="78216"/>
                </a:lnTo>
                <a:lnTo>
                  <a:pt x="921705" y="71069"/>
                </a:lnTo>
                <a:lnTo>
                  <a:pt x="909787" y="59952"/>
                </a:lnTo>
                <a:lnTo>
                  <a:pt x="899458" y="52805"/>
                </a:lnTo>
                <a:lnTo>
                  <a:pt x="889923" y="47247"/>
                </a:lnTo>
                <a:lnTo>
                  <a:pt x="881978" y="42482"/>
                </a:lnTo>
                <a:lnTo>
                  <a:pt x="874827" y="37718"/>
                </a:lnTo>
                <a:lnTo>
                  <a:pt x="868470" y="32953"/>
                </a:lnTo>
                <a:lnTo>
                  <a:pt x="863703" y="26601"/>
                </a:lnTo>
                <a:lnTo>
                  <a:pt x="860525" y="21836"/>
                </a:lnTo>
                <a:lnTo>
                  <a:pt x="858141" y="16278"/>
                </a:lnTo>
                <a:lnTo>
                  <a:pt x="857014" y="12897"/>
                </a:lnTo>
                <a:lnTo>
                  <a:pt x="857236" y="11896"/>
                </a:lnTo>
                <a:lnTo>
                  <a:pt x="860411" y="6345"/>
                </a:lnTo>
                <a:lnTo>
                  <a:pt x="866761" y="0"/>
                </a:lnTo>
                <a:lnTo>
                  <a:pt x="1534305" y="0"/>
                </a:lnTo>
                <a:lnTo>
                  <a:pt x="1534305" y="636053"/>
                </a:lnTo>
                <a:lnTo>
                  <a:pt x="1534305" y="645570"/>
                </a:lnTo>
                <a:lnTo>
                  <a:pt x="1535892" y="653500"/>
                </a:lnTo>
                <a:lnTo>
                  <a:pt x="1538273" y="660638"/>
                </a:lnTo>
                <a:lnTo>
                  <a:pt x="1541448" y="666190"/>
                </a:lnTo>
                <a:lnTo>
                  <a:pt x="1545417" y="670948"/>
                </a:lnTo>
                <a:lnTo>
                  <a:pt x="1548592" y="674914"/>
                </a:lnTo>
                <a:lnTo>
                  <a:pt x="1553355" y="677293"/>
                </a:lnTo>
                <a:lnTo>
                  <a:pt x="1558117" y="678086"/>
                </a:lnTo>
                <a:lnTo>
                  <a:pt x="1562880" y="678086"/>
                </a:lnTo>
                <a:lnTo>
                  <a:pt x="1569230" y="677293"/>
                </a:lnTo>
                <a:lnTo>
                  <a:pt x="1573992" y="674914"/>
                </a:lnTo>
                <a:lnTo>
                  <a:pt x="1579548" y="670948"/>
                </a:lnTo>
                <a:lnTo>
                  <a:pt x="1584311" y="666190"/>
                </a:lnTo>
                <a:lnTo>
                  <a:pt x="1584599" y="665854"/>
                </a:lnTo>
                <a:lnTo>
                  <a:pt x="1588281" y="664014"/>
                </a:lnTo>
                <a:lnTo>
                  <a:pt x="1593043" y="659253"/>
                </a:lnTo>
                <a:lnTo>
                  <a:pt x="1598599" y="653699"/>
                </a:lnTo>
                <a:lnTo>
                  <a:pt x="1603362" y="646558"/>
                </a:lnTo>
                <a:lnTo>
                  <a:pt x="1608124" y="639417"/>
                </a:lnTo>
                <a:lnTo>
                  <a:pt x="1614474" y="628308"/>
                </a:lnTo>
                <a:lnTo>
                  <a:pt x="1621618" y="618787"/>
                </a:lnTo>
                <a:lnTo>
                  <a:pt x="1631937" y="606885"/>
                </a:lnTo>
                <a:lnTo>
                  <a:pt x="1636499" y="603338"/>
                </a:lnTo>
                <a:lnTo>
                  <a:pt x="1637492" y="602743"/>
                </a:lnTo>
                <a:lnTo>
                  <a:pt x="1646223" y="596399"/>
                </a:lnTo>
                <a:lnTo>
                  <a:pt x="1655748" y="591640"/>
                </a:lnTo>
                <a:lnTo>
                  <a:pt x="1665273" y="588468"/>
                </a:lnTo>
                <a:lnTo>
                  <a:pt x="1677180" y="584502"/>
                </a:lnTo>
                <a:lnTo>
                  <a:pt x="1689086" y="582123"/>
                </a:lnTo>
                <a:lnTo>
                  <a:pt x="1701786" y="582123"/>
                </a:lnTo>
                <a:lnTo>
                  <a:pt x="1716073" y="582123"/>
                </a:lnTo>
                <a:lnTo>
                  <a:pt x="1731155" y="586088"/>
                </a:lnTo>
                <a:lnTo>
                  <a:pt x="1744648" y="590847"/>
                </a:lnTo>
                <a:lnTo>
                  <a:pt x="1758936" y="596399"/>
                </a:lnTo>
                <a:lnTo>
                  <a:pt x="1770842" y="603536"/>
                </a:lnTo>
                <a:lnTo>
                  <a:pt x="1783542" y="613053"/>
                </a:lnTo>
                <a:lnTo>
                  <a:pt x="1794655" y="624156"/>
                </a:lnTo>
                <a:lnTo>
                  <a:pt x="1804973" y="636053"/>
                </a:lnTo>
                <a:lnTo>
                  <a:pt x="1814498" y="647949"/>
                </a:lnTo>
                <a:lnTo>
                  <a:pt x="1822436" y="662224"/>
                </a:lnTo>
                <a:lnTo>
                  <a:pt x="1829580" y="677293"/>
                </a:lnTo>
                <a:lnTo>
                  <a:pt x="1835930" y="692361"/>
                </a:lnTo>
                <a:lnTo>
                  <a:pt x="1840692" y="709016"/>
                </a:lnTo>
                <a:lnTo>
                  <a:pt x="1845455" y="727257"/>
                </a:lnTo>
                <a:lnTo>
                  <a:pt x="1846248" y="744705"/>
                </a:lnTo>
                <a:lnTo>
                  <a:pt x="1847836" y="763739"/>
                </a:lnTo>
                <a:close/>
              </a:path>
            </a:pathLst>
          </a:custGeom>
          <a:ln>
            <a:solidFill>
              <a:schemeClr val="tx1">
                <a:lumMod val="50000"/>
                <a:lumOff val="50000"/>
              </a:schemeClr>
            </a:solidFill>
          </a:ln>
        </p:spPr>
      </p:pic>
      <p:sp>
        <p:nvSpPr>
          <p:cNvPr id="12" name="Rectangle 11">
            <a:extLst>
              <a:ext uri="{FF2B5EF4-FFF2-40B4-BE49-F238E27FC236}">
                <a16:creationId xmlns:a16="http://schemas.microsoft.com/office/drawing/2014/main" id="{24A28A7E-AF20-4000-91D8-1E4C16744BA5}"/>
              </a:ext>
            </a:extLst>
          </p:cNvPr>
          <p:cNvSpPr/>
          <p:nvPr/>
        </p:nvSpPr>
        <p:spPr>
          <a:xfrm>
            <a:off x="0" y="48170"/>
            <a:ext cx="12192000" cy="6858000"/>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9D739A2-AE66-4794-9CFC-5BB1E051F4AA}"/>
              </a:ext>
            </a:extLst>
          </p:cNvPr>
          <p:cNvSpPr txBox="1">
            <a:spLocks/>
          </p:cNvSpPr>
          <p:nvPr/>
        </p:nvSpPr>
        <p:spPr>
          <a:xfrm>
            <a:off x="402136" y="88186"/>
            <a:ext cx="11599334" cy="733833"/>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r>
              <a:rPr lang="en-US" sz="4000" b="1" dirty="0">
                <a:latin typeface="Palatino Linotype" panose="02040502050505030304" pitchFamily="18" charset="0"/>
              </a:rPr>
              <a:t>Linking Soil and Watershed Health to </a:t>
            </a:r>
            <a:br>
              <a:rPr lang="en-US" sz="4000" b="1" dirty="0">
                <a:latin typeface="Palatino Linotype" panose="02040502050505030304" pitchFamily="18" charset="0"/>
              </a:rPr>
            </a:br>
            <a:r>
              <a:rPr lang="en-US" sz="4000" b="1" dirty="0">
                <a:latin typeface="Palatino Linotype" panose="02040502050505030304" pitchFamily="18" charset="0"/>
              </a:rPr>
              <a:t>In-field and Edge-of-Field Water Management </a:t>
            </a:r>
            <a:endParaRPr lang="en-US" sz="4000" dirty="0">
              <a:latin typeface="Palatino Linotype" panose="02040502050505030304" pitchFamily="18" charset="0"/>
            </a:endParaRPr>
          </a:p>
        </p:txBody>
      </p:sp>
      <p:sp>
        <p:nvSpPr>
          <p:cNvPr id="14" name="Content Placeholder 2">
            <a:extLst>
              <a:ext uri="{FF2B5EF4-FFF2-40B4-BE49-F238E27FC236}">
                <a16:creationId xmlns:a16="http://schemas.microsoft.com/office/drawing/2014/main" id="{3788D99D-B039-4113-BE07-E9517A68A1B9}"/>
              </a:ext>
            </a:extLst>
          </p:cNvPr>
          <p:cNvSpPr txBox="1">
            <a:spLocks/>
          </p:cNvSpPr>
          <p:nvPr/>
        </p:nvSpPr>
        <p:spPr>
          <a:xfrm>
            <a:off x="1482933" y="1858789"/>
            <a:ext cx="10444147" cy="4857534"/>
          </a:xfrm>
          <a:prstGeom prst="rect">
            <a:avLst/>
          </a:prstGeom>
          <a:noFill/>
        </p:spPr>
        <p:txBody>
          <a:bodyP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346075" indent="0">
              <a:lnSpc>
                <a:spcPct val="100000"/>
              </a:lnSpc>
              <a:spcAft>
                <a:spcPts val="0"/>
              </a:spcAft>
              <a:buFont typeface="Calibri" panose="020F0502020204030204" pitchFamily="34" charset="0"/>
              <a:buNone/>
            </a:pPr>
            <a:r>
              <a:rPr lang="en-US" sz="2800" b="1" dirty="0">
                <a:solidFill>
                  <a:srgbClr val="0070C0"/>
                </a:solidFill>
                <a:latin typeface="Palatino Linotype" panose="02040502050505030304" pitchFamily="18" charset="0"/>
              </a:rPr>
              <a:t>Session I </a:t>
            </a:r>
            <a:r>
              <a:rPr lang="en-US" sz="2800" b="1" dirty="0">
                <a:latin typeface="Palatino Linotype" panose="02040502050505030304" pitchFamily="18" charset="0"/>
              </a:rPr>
              <a:t>- Soil Health: State of the Science</a:t>
            </a:r>
          </a:p>
          <a:p>
            <a:pPr marL="346075" indent="0">
              <a:lnSpc>
                <a:spcPct val="100000"/>
              </a:lnSpc>
              <a:spcBef>
                <a:spcPts val="0"/>
              </a:spcBef>
              <a:spcAft>
                <a:spcPts val="0"/>
              </a:spcAft>
              <a:buFont typeface="Calibri" panose="020F0502020204030204" pitchFamily="34" charset="0"/>
              <a:buNone/>
            </a:pPr>
            <a:r>
              <a:rPr lang="en-US" sz="3600" b="1" dirty="0">
                <a:latin typeface="Palatino Linotype" panose="02040502050505030304" pitchFamily="18" charset="0"/>
              </a:rPr>
              <a:t>	</a:t>
            </a:r>
            <a:r>
              <a:rPr lang="en-US" sz="2800" b="1" i="1" dirty="0">
                <a:solidFill>
                  <a:schemeClr val="tx1">
                    <a:lumMod val="50000"/>
                    <a:lumOff val="50000"/>
                  </a:schemeClr>
                </a:solidFill>
                <a:latin typeface="Palatino Linotype" panose="02040502050505030304" pitchFamily="18" charset="0"/>
              </a:rPr>
              <a:t>Rattan Lal		Ken Staver		Mark Tomer</a:t>
            </a:r>
          </a:p>
          <a:p>
            <a:pPr marL="346075" indent="0">
              <a:lnSpc>
                <a:spcPct val="100000"/>
              </a:lnSpc>
              <a:buFont typeface="Calibri" panose="020F0502020204030204" pitchFamily="34" charset="0"/>
              <a:buNone/>
            </a:pPr>
            <a:r>
              <a:rPr lang="en-US" sz="2800" b="1" dirty="0">
                <a:solidFill>
                  <a:srgbClr val="0070C0"/>
                </a:solidFill>
                <a:latin typeface="Palatino Linotype" panose="02040502050505030304" pitchFamily="18" charset="0"/>
              </a:rPr>
              <a:t>Session II - </a:t>
            </a:r>
            <a:r>
              <a:rPr lang="en-US" sz="2800" b="1" dirty="0">
                <a:latin typeface="Palatino Linotype" panose="02040502050505030304" pitchFamily="18" charset="0"/>
              </a:rPr>
              <a:t>Biogeochemical Conditions and Hydrodynamics Influencing Soil Health in the Vadose Zone</a:t>
            </a:r>
          </a:p>
          <a:p>
            <a:pPr marL="346075" indent="0">
              <a:lnSpc>
                <a:spcPct val="100000"/>
              </a:lnSpc>
              <a:spcBef>
                <a:spcPts val="0"/>
              </a:spcBef>
              <a:buFont typeface="Calibri" panose="020F0502020204030204" pitchFamily="34" charset="0"/>
              <a:buNone/>
            </a:pPr>
            <a:r>
              <a:rPr lang="en-US" sz="3600" b="1" dirty="0">
                <a:latin typeface="Palatino Linotype" panose="02040502050505030304" pitchFamily="18" charset="0"/>
              </a:rPr>
              <a:t>	</a:t>
            </a:r>
            <a:r>
              <a:rPr lang="en-US" sz="2800" b="1" i="1" dirty="0">
                <a:solidFill>
                  <a:schemeClr val="tx1">
                    <a:lumMod val="50000"/>
                    <a:lumOff val="50000"/>
                  </a:schemeClr>
                </a:solidFill>
                <a:latin typeface="Palatino Linotype" panose="02040502050505030304" pitchFamily="18" charset="0"/>
              </a:rPr>
              <a:t>Ryan Stewart	Brian </a:t>
            </a:r>
            <a:r>
              <a:rPr lang="en-US" sz="2800" b="1" i="1" dirty="0" err="1">
                <a:solidFill>
                  <a:schemeClr val="tx1">
                    <a:lumMod val="50000"/>
                    <a:lumOff val="50000"/>
                  </a:schemeClr>
                </a:solidFill>
                <a:latin typeface="Palatino Linotype" panose="02040502050505030304" pitchFamily="18" charset="0"/>
              </a:rPr>
              <a:t>Badgley</a:t>
            </a:r>
            <a:r>
              <a:rPr lang="en-US" sz="2800" b="1" i="1" dirty="0">
                <a:solidFill>
                  <a:schemeClr val="tx1">
                    <a:lumMod val="50000"/>
                    <a:lumOff val="50000"/>
                  </a:schemeClr>
                </a:solidFill>
                <a:latin typeface="Palatino Linotype" panose="02040502050505030304" pitchFamily="18" charset="0"/>
              </a:rPr>
              <a:t>	Michael Castellano				Sotirios Archontoulis	Ray Bryant</a:t>
            </a:r>
          </a:p>
          <a:p>
            <a:pPr marL="346075" indent="0">
              <a:lnSpc>
                <a:spcPct val="100000"/>
              </a:lnSpc>
              <a:buFont typeface="Calibri" panose="020F0502020204030204" pitchFamily="34" charset="0"/>
              <a:buNone/>
            </a:pPr>
            <a:r>
              <a:rPr lang="en-US" sz="2800" b="1" dirty="0">
                <a:solidFill>
                  <a:srgbClr val="0070C0"/>
                </a:solidFill>
                <a:latin typeface="Palatino Linotype" panose="02040502050505030304" pitchFamily="18" charset="0"/>
              </a:rPr>
              <a:t>Session III - </a:t>
            </a:r>
            <a:r>
              <a:rPr lang="en-US" sz="2800" b="1" dirty="0">
                <a:latin typeface="Palatino Linotype" panose="02040502050505030304" pitchFamily="18" charset="0"/>
              </a:rPr>
              <a:t>Impacts of Drainage Water on In-field Soil Conditions and Watershed Hydrology</a:t>
            </a:r>
          </a:p>
          <a:p>
            <a:pPr marL="346075" indent="0">
              <a:lnSpc>
                <a:spcPct val="100000"/>
              </a:lnSpc>
              <a:spcBef>
                <a:spcPts val="0"/>
              </a:spcBef>
              <a:spcAft>
                <a:spcPts val="0"/>
              </a:spcAft>
              <a:buFont typeface="Calibri" panose="020F0502020204030204" pitchFamily="34" charset="0"/>
              <a:buNone/>
            </a:pPr>
            <a:r>
              <a:rPr lang="en-US" sz="3600" b="1" dirty="0">
                <a:latin typeface="Palatino Linotype" panose="02040502050505030304" pitchFamily="18" charset="0"/>
              </a:rPr>
              <a:t>		</a:t>
            </a:r>
            <a:r>
              <a:rPr lang="en-US" sz="2800" b="1" i="1" dirty="0">
                <a:solidFill>
                  <a:schemeClr val="tx1">
                    <a:lumMod val="50000"/>
                    <a:lumOff val="50000"/>
                  </a:schemeClr>
                </a:solidFill>
                <a:latin typeface="Palatino Linotype" panose="02040502050505030304" pitchFamily="18" charset="0"/>
              </a:rPr>
              <a:t>Eileen Kladivko		Keith Schilling</a:t>
            </a:r>
          </a:p>
          <a:p>
            <a:pPr marL="346075" indent="0">
              <a:lnSpc>
                <a:spcPct val="100000"/>
              </a:lnSpc>
              <a:spcBef>
                <a:spcPts val="0"/>
              </a:spcBef>
              <a:spcAft>
                <a:spcPts val="0"/>
              </a:spcAft>
              <a:buFont typeface="Calibri" panose="020F0502020204030204" pitchFamily="34" charset="0"/>
              <a:buNone/>
            </a:pPr>
            <a:r>
              <a:rPr lang="en-US" sz="2800" b="1" i="1" dirty="0">
                <a:solidFill>
                  <a:schemeClr val="tx1">
                    <a:lumMod val="50000"/>
                    <a:lumOff val="50000"/>
                  </a:schemeClr>
                </a:solidFill>
                <a:latin typeface="Palatino Linotype" panose="02040502050505030304" pitchFamily="18" charset="0"/>
              </a:rPr>
              <a:t>		Laura Johnson		Kathy Boomer</a:t>
            </a:r>
          </a:p>
          <a:p>
            <a:pPr marL="346075" indent="0">
              <a:lnSpc>
                <a:spcPct val="100000"/>
              </a:lnSpc>
              <a:buFont typeface="Calibri" panose="020F0502020204030204" pitchFamily="34" charset="0"/>
              <a:buNone/>
            </a:pPr>
            <a:endParaRPr lang="en-US" sz="3200" b="1" i="1" dirty="0">
              <a:latin typeface="Palatino Linotype" panose="02040502050505030304" pitchFamily="18" charset="0"/>
            </a:endParaRPr>
          </a:p>
        </p:txBody>
      </p:sp>
      <p:cxnSp>
        <p:nvCxnSpPr>
          <p:cNvPr id="15" name="Straight Connector 14">
            <a:extLst>
              <a:ext uri="{FF2B5EF4-FFF2-40B4-BE49-F238E27FC236}">
                <a16:creationId xmlns:a16="http://schemas.microsoft.com/office/drawing/2014/main" id="{09397C40-2725-4CA8-9087-5D42D7390608}"/>
              </a:ext>
            </a:extLst>
          </p:cNvPr>
          <p:cNvCxnSpPr/>
          <p:nvPr/>
        </p:nvCxnSpPr>
        <p:spPr>
          <a:xfrm>
            <a:off x="1557325" y="1312959"/>
            <a:ext cx="100584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CD145AB-AC28-45DD-B9D1-E1670B67E745}"/>
              </a:ext>
            </a:extLst>
          </p:cNvPr>
          <p:cNvSpPr txBox="1"/>
          <p:nvPr/>
        </p:nvSpPr>
        <p:spPr>
          <a:xfrm rot="21051134">
            <a:off x="-157555" y="1459975"/>
            <a:ext cx="1906113" cy="707886"/>
          </a:xfrm>
          <a:prstGeom prst="rect">
            <a:avLst/>
          </a:prstGeom>
          <a:noFill/>
        </p:spPr>
        <p:txBody>
          <a:bodyPr wrap="square" rtlCol="0">
            <a:spAutoFit/>
          </a:bodyPr>
          <a:lstStyle/>
          <a:p>
            <a:pPr algn="ctr"/>
            <a:r>
              <a:rPr lang="en-US" sz="4000" b="1" i="1" dirty="0">
                <a:solidFill>
                  <a:srgbClr val="92D050"/>
                </a:solidFill>
                <a:latin typeface="Palatino Linotype" panose="02040502050505030304" pitchFamily="18" charset="0"/>
              </a:rPr>
              <a:t>Day 1</a:t>
            </a:r>
          </a:p>
        </p:txBody>
      </p:sp>
    </p:spTree>
    <p:extLst>
      <p:ext uri="{BB962C8B-B14F-4D97-AF65-F5344CB8AC3E}">
        <p14:creationId xmlns:p14="http://schemas.microsoft.com/office/powerpoint/2010/main" val="3200659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CA4C87-6780-4740-B881-0F47E2771A30}"/>
              </a:ext>
            </a:extLst>
          </p:cNvPr>
          <p:cNvPicPr>
            <a:picLocks noChangeAspect="1"/>
          </p:cNvPicPr>
          <p:nvPr/>
        </p:nvPicPr>
        <p:blipFill rotWithShape="1">
          <a:blip r:embed="rId2"/>
          <a:srcRect l="61327" t="381" r="3861" b="74991"/>
          <a:stretch/>
        </p:blipFill>
        <p:spPr>
          <a:xfrm rot="20610611">
            <a:off x="428961" y="2066515"/>
            <a:ext cx="1743701" cy="1932670"/>
          </a:xfrm>
          <a:custGeom>
            <a:avLst/>
            <a:gdLst>
              <a:gd name="connsiteX0" fmla="*/ 1877220 w 1877220"/>
              <a:gd name="connsiteY0" fmla="*/ 0 h 1568450"/>
              <a:gd name="connsiteX1" fmla="*/ 1877220 w 1877220"/>
              <a:gd name="connsiteY1" fmla="*/ 1568450 h 1568450"/>
              <a:gd name="connsiteX2" fmla="*/ 1198277 w 1877220"/>
              <a:gd name="connsiteY2" fmla="*/ 1568450 h 1568450"/>
              <a:gd name="connsiteX3" fmla="*/ 1188748 w 1877220"/>
              <a:gd name="connsiteY3" fmla="*/ 1568450 h 1568450"/>
              <a:gd name="connsiteX4" fmla="*/ 1180807 w 1877220"/>
              <a:gd name="connsiteY4" fmla="*/ 1566069 h 1568450"/>
              <a:gd name="connsiteX5" fmla="*/ 1173660 w 1877220"/>
              <a:gd name="connsiteY5" fmla="*/ 1565275 h 1568450"/>
              <a:gd name="connsiteX6" fmla="*/ 1168896 w 1877220"/>
              <a:gd name="connsiteY6" fmla="*/ 1561306 h 1568450"/>
              <a:gd name="connsiteX7" fmla="*/ 1164131 w 1877220"/>
              <a:gd name="connsiteY7" fmla="*/ 1558131 h 1568450"/>
              <a:gd name="connsiteX8" fmla="*/ 1160161 w 1877220"/>
              <a:gd name="connsiteY8" fmla="*/ 1554163 h 1568450"/>
              <a:gd name="connsiteX9" fmla="*/ 1157779 w 1877220"/>
              <a:gd name="connsiteY9" fmla="*/ 1549400 h 1568450"/>
              <a:gd name="connsiteX10" fmla="*/ 1157197 w 1877220"/>
              <a:gd name="connsiteY10" fmla="*/ 1545912 h 1568450"/>
              <a:gd name="connsiteX11" fmla="*/ 1159366 w 1877220"/>
              <a:gd name="connsiteY11" fmla="*/ 1540131 h 1568450"/>
              <a:gd name="connsiteX12" fmla="*/ 1162543 w 1877220"/>
              <a:gd name="connsiteY12" fmla="*/ 1535371 h 1568450"/>
              <a:gd name="connsiteX13" fmla="*/ 1167307 w 1877220"/>
              <a:gd name="connsiteY13" fmla="*/ 1529817 h 1568450"/>
              <a:gd name="connsiteX14" fmla="*/ 1173660 w 1877220"/>
              <a:gd name="connsiteY14" fmla="*/ 1525056 h 1568450"/>
              <a:gd name="connsiteX15" fmla="*/ 1180806 w 1877220"/>
              <a:gd name="connsiteY15" fmla="*/ 1520296 h 1568450"/>
              <a:gd name="connsiteX16" fmla="*/ 1188747 w 1877220"/>
              <a:gd name="connsiteY16" fmla="*/ 1515535 h 1568450"/>
              <a:gd name="connsiteX17" fmla="*/ 1198276 w 1877220"/>
              <a:gd name="connsiteY17" fmla="*/ 1509188 h 1568450"/>
              <a:gd name="connsiteX18" fmla="*/ 1208599 w 1877220"/>
              <a:gd name="connsiteY18" fmla="*/ 1502047 h 1568450"/>
              <a:gd name="connsiteX19" fmla="*/ 1220511 w 1877220"/>
              <a:gd name="connsiteY19" fmla="*/ 1491733 h 1568450"/>
              <a:gd name="connsiteX20" fmla="*/ 1226863 w 1877220"/>
              <a:gd name="connsiteY20" fmla="*/ 1484592 h 1568450"/>
              <a:gd name="connsiteX21" fmla="*/ 1232422 w 1877220"/>
              <a:gd name="connsiteY21" fmla="*/ 1477451 h 1568450"/>
              <a:gd name="connsiteX22" fmla="*/ 1237187 w 1877220"/>
              <a:gd name="connsiteY22" fmla="*/ 1468724 h 1568450"/>
              <a:gd name="connsiteX23" fmla="*/ 1241951 w 1877220"/>
              <a:gd name="connsiteY23" fmla="*/ 1459203 h 1568450"/>
              <a:gd name="connsiteX24" fmla="*/ 1246716 w 1877220"/>
              <a:gd name="connsiteY24" fmla="*/ 1448888 h 1568450"/>
              <a:gd name="connsiteX25" fmla="*/ 1249098 w 1877220"/>
              <a:gd name="connsiteY25" fmla="*/ 1438574 h 1568450"/>
              <a:gd name="connsiteX26" fmla="*/ 1251480 w 1877220"/>
              <a:gd name="connsiteY26" fmla="*/ 1426673 h 1568450"/>
              <a:gd name="connsiteX27" fmla="*/ 1253068 w 1877220"/>
              <a:gd name="connsiteY27" fmla="*/ 1413185 h 1568450"/>
              <a:gd name="connsiteX28" fmla="*/ 1252390 w 1877220"/>
              <a:gd name="connsiteY28" fmla="*/ 1406741 h 1568450"/>
              <a:gd name="connsiteX29" fmla="*/ 1253069 w 1877220"/>
              <a:gd name="connsiteY29" fmla="*/ 1400969 h 1568450"/>
              <a:gd name="connsiteX30" fmla="*/ 1251480 w 1877220"/>
              <a:gd name="connsiteY30" fmla="*/ 1385888 h 1568450"/>
              <a:gd name="connsiteX31" fmla="*/ 1249098 w 1877220"/>
              <a:gd name="connsiteY31" fmla="*/ 1371600 h 1568450"/>
              <a:gd name="connsiteX32" fmla="*/ 1244334 w 1877220"/>
              <a:gd name="connsiteY32" fmla="*/ 1357313 h 1568450"/>
              <a:gd name="connsiteX33" fmla="*/ 1238775 w 1877220"/>
              <a:gd name="connsiteY33" fmla="*/ 1343819 h 1568450"/>
              <a:gd name="connsiteX34" fmla="*/ 1230040 w 1877220"/>
              <a:gd name="connsiteY34" fmla="*/ 1331119 h 1568450"/>
              <a:gd name="connsiteX35" fmla="*/ 1222099 w 1877220"/>
              <a:gd name="connsiteY35" fmla="*/ 1319213 h 1568450"/>
              <a:gd name="connsiteX36" fmla="*/ 1210982 w 1877220"/>
              <a:gd name="connsiteY36" fmla="*/ 1308894 h 1568450"/>
              <a:gd name="connsiteX37" fmla="*/ 1199071 w 1877220"/>
              <a:gd name="connsiteY37" fmla="*/ 1297781 h 1568450"/>
              <a:gd name="connsiteX38" fmla="*/ 1186366 w 1877220"/>
              <a:gd name="connsiteY38" fmla="*/ 1288256 h 1568450"/>
              <a:gd name="connsiteX39" fmla="*/ 1172072 w 1877220"/>
              <a:gd name="connsiteY39" fmla="*/ 1280319 h 1568450"/>
              <a:gd name="connsiteX40" fmla="*/ 1156984 w 1877220"/>
              <a:gd name="connsiteY40" fmla="*/ 1273175 h 1568450"/>
              <a:gd name="connsiteX41" fmla="*/ 1141103 w 1877220"/>
              <a:gd name="connsiteY41" fmla="*/ 1266031 h 1568450"/>
              <a:gd name="connsiteX42" fmla="*/ 1124427 w 1877220"/>
              <a:gd name="connsiteY42" fmla="*/ 1261269 h 1568450"/>
              <a:gd name="connsiteX43" fmla="*/ 1106957 w 1877220"/>
              <a:gd name="connsiteY43" fmla="*/ 1257300 h 1568450"/>
              <a:gd name="connsiteX44" fmla="*/ 1088693 w 1877220"/>
              <a:gd name="connsiteY44" fmla="*/ 1254919 h 1568450"/>
              <a:gd name="connsiteX45" fmla="*/ 1070429 w 1877220"/>
              <a:gd name="connsiteY45" fmla="*/ 1254919 h 1568450"/>
              <a:gd name="connsiteX46" fmla="*/ 1052165 w 1877220"/>
              <a:gd name="connsiteY46" fmla="*/ 1254919 h 1568450"/>
              <a:gd name="connsiteX47" fmla="*/ 1033107 w 1877220"/>
              <a:gd name="connsiteY47" fmla="*/ 1257300 h 1568450"/>
              <a:gd name="connsiteX48" fmla="*/ 1016432 w 1877220"/>
              <a:gd name="connsiteY48" fmla="*/ 1261269 h 1568450"/>
              <a:gd name="connsiteX49" fmla="*/ 999756 w 1877220"/>
              <a:gd name="connsiteY49" fmla="*/ 1266031 h 1568450"/>
              <a:gd name="connsiteX50" fmla="*/ 983080 w 1877220"/>
              <a:gd name="connsiteY50" fmla="*/ 1273175 h 1568450"/>
              <a:gd name="connsiteX51" fmla="*/ 967992 w 1877220"/>
              <a:gd name="connsiteY51" fmla="*/ 1280319 h 1568450"/>
              <a:gd name="connsiteX52" fmla="*/ 955287 w 1877220"/>
              <a:gd name="connsiteY52" fmla="*/ 1288256 h 1568450"/>
              <a:gd name="connsiteX53" fmla="*/ 941788 w 1877220"/>
              <a:gd name="connsiteY53" fmla="*/ 1297781 h 1568450"/>
              <a:gd name="connsiteX54" fmla="*/ 929876 w 1877220"/>
              <a:gd name="connsiteY54" fmla="*/ 1308894 h 1568450"/>
              <a:gd name="connsiteX55" fmla="*/ 919553 w 1877220"/>
              <a:gd name="connsiteY55" fmla="*/ 1319213 h 1568450"/>
              <a:gd name="connsiteX56" fmla="*/ 910024 w 1877220"/>
              <a:gd name="connsiteY56" fmla="*/ 1331119 h 1568450"/>
              <a:gd name="connsiteX57" fmla="*/ 902878 w 1877220"/>
              <a:gd name="connsiteY57" fmla="*/ 1343819 h 1568450"/>
              <a:gd name="connsiteX58" fmla="*/ 896525 w 1877220"/>
              <a:gd name="connsiteY58" fmla="*/ 1357313 h 1568450"/>
              <a:gd name="connsiteX59" fmla="*/ 891760 w 1877220"/>
              <a:gd name="connsiteY59" fmla="*/ 1371600 h 1568450"/>
              <a:gd name="connsiteX60" fmla="*/ 889378 w 1877220"/>
              <a:gd name="connsiteY60" fmla="*/ 1385888 h 1568450"/>
              <a:gd name="connsiteX61" fmla="*/ 888584 w 1877220"/>
              <a:gd name="connsiteY61" fmla="*/ 1400969 h 1568450"/>
              <a:gd name="connsiteX62" fmla="*/ 888584 w 1877220"/>
              <a:gd name="connsiteY62" fmla="*/ 1413166 h 1568450"/>
              <a:gd name="connsiteX63" fmla="*/ 888583 w 1877220"/>
              <a:gd name="connsiteY63" fmla="*/ 1413185 h 1568450"/>
              <a:gd name="connsiteX64" fmla="*/ 888583 w 1877220"/>
              <a:gd name="connsiteY64" fmla="*/ 1426673 h 1568450"/>
              <a:gd name="connsiteX65" fmla="*/ 890966 w 1877220"/>
              <a:gd name="connsiteY65" fmla="*/ 1438574 h 1568450"/>
              <a:gd name="connsiteX66" fmla="*/ 894142 w 1877220"/>
              <a:gd name="connsiteY66" fmla="*/ 1448888 h 1568450"/>
              <a:gd name="connsiteX67" fmla="*/ 898112 w 1877220"/>
              <a:gd name="connsiteY67" fmla="*/ 1459203 h 1568450"/>
              <a:gd name="connsiteX68" fmla="*/ 902877 w 1877220"/>
              <a:gd name="connsiteY68" fmla="*/ 1468724 h 1568450"/>
              <a:gd name="connsiteX69" fmla="*/ 908435 w 1877220"/>
              <a:gd name="connsiteY69" fmla="*/ 1477451 h 1568450"/>
              <a:gd name="connsiteX70" fmla="*/ 914788 w 1877220"/>
              <a:gd name="connsiteY70" fmla="*/ 1484592 h 1568450"/>
              <a:gd name="connsiteX71" fmla="*/ 920347 w 1877220"/>
              <a:gd name="connsiteY71" fmla="*/ 1491733 h 1568450"/>
              <a:gd name="connsiteX72" fmla="*/ 932258 w 1877220"/>
              <a:gd name="connsiteY72" fmla="*/ 1502047 h 1568450"/>
              <a:gd name="connsiteX73" fmla="*/ 941787 w 1877220"/>
              <a:gd name="connsiteY73" fmla="*/ 1509188 h 1568450"/>
              <a:gd name="connsiteX74" fmla="*/ 952904 w 1877220"/>
              <a:gd name="connsiteY74" fmla="*/ 1515535 h 1568450"/>
              <a:gd name="connsiteX75" fmla="*/ 960051 w 1877220"/>
              <a:gd name="connsiteY75" fmla="*/ 1520296 h 1568450"/>
              <a:gd name="connsiteX76" fmla="*/ 966404 w 1877220"/>
              <a:gd name="connsiteY76" fmla="*/ 1525056 h 1568450"/>
              <a:gd name="connsiteX77" fmla="*/ 972756 w 1877220"/>
              <a:gd name="connsiteY77" fmla="*/ 1529817 h 1568450"/>
              <a:gd name="connsiteX78" fmla="*/ 977521 w 1877220"/>
              <a:gd name="connsiteY78" fmla="*/ 1535371 h 1568450"/>
              <a:gd name="connsiteX79" fmla="*/ 980697 w 1877220"/>
              <a:gd name="connsiteY79" fmla="*/ 1540131 h 1568450"/>
              <a:gd name="connsiteX80" fmla="*/ 983079 w 1877220"/>
              <a:gd name="connsiteY80" fmla="*/ 1546479 h 1568450"/>
              <a:gd name="connsiteX81" fmla="*/ 983567 w 1877220"/>
              <a:gd name="connsiteY81" fmla="*/ 1547940 h 1568450"/>
              <a:gd name="connsiteX82" fmla="*/ 983080 w 1877220"/>
              <a:gd name="connsiteY82" fmla="*/ 1549400 h 1568450"/>
              <a:gd name="connsiteX83" fmla="*/ 980698 w 1877220"/>
              <a:gd name="connsiteY83" fmla="*/ 1554163 h 1568450"/>
              <a:gd name="connsiteX84" fmla="*/ 977521 w 1877220"/>
              <a:gd name="connsiteY84" fmla="*/ 1558131 h 1568450"/>
              <a:gd name="connsiteX85" fmla="*/ 972757 w 1877220"/>
              <a:gd name="connsiteY85" fmla="*/ 1561306 h 1568450"/>
              <a:gd name="connsiteX86" fmla="*/ 966404 w 1877220"/>
              <a:gd name="connsiteY86" fmla="*/ 1565275 h 1568450"/>
              <a:gd name="connsiteX87" fmla="*/ 960052 w 1877220"/>
              <a:gd name="connsiteY87" fmla="*/ 1566069 h 1568450"/>
              <a:gd name="connsiteX88" fmla="*/ 951317 w 1877220"/>
              <a:gd name="connsiteY88" fmla="*/ 1568450 h 1568450"/>
              <a:gd name="connsiteX89" fmla="*/ 943376 w 1877220"/>
              <a:gd name="connsiteY89" fmla="*/ 1568450 h 1568450"/>
              <a:gd name="connsiteX90" fmla="*/ 305726 w 1877220"/>
              <a:gd name="connsiteY90" fmla="*/ 1568450 h 1568450"/>
              <a:gd name="connsiteX91" fmla="*/ 305726 w 1877220"/>
              <a:gd name="connsiteY91" fmla="*/ 1134269 h 1568450"/>
              <a:gd name="connsiteX92" fmla="*/ 304138 w 1877220"/>
              <a:gd name="connsiteY92" fmla="*/ 1134269 h 1568450"/>
              <a:gd name="connsiteX93" fmla="*/ 304138 w 1877220"/>
              <a:gd name="connsiteY93" fmla="*/ 935038 h 1568450"/>
              <a:gd name="connsiteX94" fmla="*/ 304138 w 1877220"/>
              <a:gd name="connsiteY94" fmla="*/ 925513 h 1568450"/>
              <a:gd name="connsiteX95" fmla="*/ 303344 w 1877220"/>
              <a:gd name="connsiteY95" fmla="*/ 918369 h 1568450"/>
              <a:gd name="connsiteX96" fmla="*/ 300962 w 1877220"/>
              <a:gd name="connsiteY96" fmla="*/ 911225 h 1568450"/>
              <a:gd name="connsiteX97" fmla="*/ 300831 w 1877220"/>
              <a:gd name="connsiteY97" fmla="*/ 911015 h 1568450"/>
              <a:gd name="connsiteX98" fmla="*/ 300831 w 1877220"/>
              <a:gd name="connsiteY98" fmla="*/ 898185 h 1568450"/>
              <a:gd name="connsiteX99" fmla="*/ 295275 w 1877220"/>
              <a:gd name="connsiteY99" fmla="*/ 895008 h 1568450"/>
              <a:gd name="connsiteX100" fmla="*/ 288925 w 1877220"/>
              <a:gd name="connsiteY100" fmla="*/ 893420 h 1568450"/>
              <a:gd name="connsiteX101" fmla="*/ 281781 w 1877220"/>
              <a:gd name="connsiteY101" fmla="*/ 893420 h 1568450"/>
              <a:gd name="connsiteX102" fmla="*/ 281725 w 1877220"/>
              <a:gd name="connsiteY102" fmla="*/ 893438 h 1568450"/>
              <a:gd name="connsiteX103" fmla="*/ 280315 w 1877220"/>
              <a:gd name="connsiteY103" fmla="*/ 892969 h 1568450"/>
              <a:gd name="connsiteX104" fmla="*/ 275551 w 1877220"/>
              <a:gd name="connsiteY104" fmla="*/ 892969 h 1568450"/>
              <a:gd name="connsiteX105" fmla="*/ 269992 w 1877220"/>
              <a:gd name="connsiteY105" fmla="*/ 894556 h 1568450"/>
              <a:gd name="connsiteX106" fmla="*/ 265228 w 1877220"/>
              <a:gd name="connsiteY106" fmla="*/ 896938 h 1568450"/>
              <a:gd name="connsiteX107" fmla="*/ 259669 w 1877220"/>
              <a:gd name="connsiteY107" fmla="*/ 900113 h 1568450"/>
              <a:gd name="connsiteX108" fmla="*/ 254905 w 1877220"/>
              <a:gd name="connsiteY108" fmla="*/ 904081 h 1568450"/>
              <a:gd name="connsiteX109" fmla="*/ 248552 w 1877220"/>
              <a:gd name="connsiteY109" fmla="*/ 909638 h 1568450"/>
              <a:gd name="connsiteX110" fmla="*/ 243788 w 1877220"/>
              <a:gd name="connsiteY110" fmla="*/ 916781 h 1568450"/>
              <a:gd name="connsiteX111" fmla="*/ 240611 w 1877220"/>
              <a:gd name="connsiteY111" fmla="*/ 925513 h 1568450"/>
              <a:gd name="connsiteX112" fmla="*/ 234259 w 1877220"/>
              <a:gd name="connsiteY112" fmla="*/ 935831 h 1568450"/>
              <a:gd name="connsiteX113" fmla="*/ 226318 w 1877220"/>
              <a:gd name="connsiteY113" fmla="*/ 945356 h 1568450"/>
              <a:gd name="connsiteX114" fmla="*/ 215201 w 1877220"/>
              <a:gd name="connsiteY114" fmla="*/ 957263 h 1568450"/>
              <a:gd name="connsiteX115" fmla="*/ 208054 w 1877220"/>
              <a:gd name="connsiteY115" fmla="*/ 963613 h 1568450"/>
              <a:gd name="connsiteX116" fmla="*/ 200907 w 1877220"/>
              <a:gd name="connsiteY116" fmla="*/ 969169 h 1568450"/>
              <a:gd name="connsiteX117" fmla="*/ 192966 w 1877220"/>
              <a:gd name="connsiteY117" fmla="*/ 975519 h 1568450"/>
              <a:gd name="connsiteX118" fmla="*/ 183437 w 1877220"/>
              <a:gd name="connsiteY118" fmla="*/ 980281 h 1568450"/>
              <a:gd name="connsiteX119" fmla="*/ 173908 w 1877220"/>
              <a:gd name="connsiteY119" fmla="*/ 983456 h 1568450"/>
              <a:gd name="connsiteX120" fmla="*/ 161997 w 1877220"/>
              <a:gd name="connsiteY120" fmla="*/ 987425 h 1568450"/>
              <a:gd name="connsiteX121" fmla="*/ 150086 w 1877220"/>
              <a:gd name="connsiteY121" fmla="*/ 988219 h 1568450"/>
              <a:gd name="connsiteX122" fmla="*/ 139535 w 1877220"/>
              <a:gd name="connsiteY122" fmla="*/ 989537 h 1568450"/>
              <a:gd name="connsiteX123" fmla="*/ 131762 w 1877220"/>
              <a:gd name="connsiteY123" fmla="*/ 988718 h 1568450"/>
              <a:gd name="connsiteX124" fmla="*/ 117475 w 1877220"/>
              <a:gd name="connsiteY124" fmla="*/ 986336 h 1568450"/>
              <a:gd name="connsiteX125" fmla="*/ 103187 w 1877220"/>
              <a:gd name="connsiteY125" fmla="*/ 981571 h 1568450"/>
              <a:gd name="connsiteX126" fmla="*/ 89693 w 1877220"/>
              <a:gd name="connsiteY126" fmla="*/ 976012 h 1568450"/>
              <a:gd name="connsiteX127" fmla="*/ 76993 w 1877220"/>
              <a:gd name="connsiteY127" fmla="*/ 967276 h 1568450"/>
              <a:gd name="connsiteX128" fmla="*/ 65087 w 1877220"/>
              <a:gd name="connsiteY128" fmla="*/ 959335 h 1568450"/>
              <a:gd name="connsiteX129" fmla="*/ 53181 w 1877220"/>
              <a:gd name="connsiteY129" fmla="*/ 948217 h 1568450"/>
              <a:gd name="connsiteX130" fmla="*/ 42068 w 1877220"/>
              <a:gd name="connsiteY130" fmla="*/ 936304 h 1568450"/>
              <a:gd name="connsiteX131" fmla="*/ 34131 w 1877220"/>
              <a:gd name="connsiteY131" fmla="*/ 923598 h 1568450"/>
              <a:gd name="connsiteX132" fmla="*/ 24606 w 1877220"/>
              <a:gd name="connsiteY132" fmla="*/ 909303 h 1568450"/>
              <a:gd name="connsiteX133" fmla="*/ 17462 w 1877220"/>
              <a:gd name="connsiteY133" fmla="*/ 895008 h 1568450"/>
              <a:gd name="connsiteX134" fmla="*/ 11906 w 1877220"/>
              <a:gd name="connsiteY134" fmla="*/ 878331 h 1568450"/>
              <a:gd name="connsiteX135" fmla="*/ 7143 w 1877220"/>
              <a:gd name="connsiteY135" fmla="*/ 861654 h 1568450"/>
              <a:gd name="connsiteX136" fmla="*/ 3175 w 1877220"/>
              <a:gd name="connsiteY136" fmla="*/ 844183 h 1568450"/>
              <a:gd name="connsiteX137" fmla="*/ 793 w 1877220"/>
              <a:gd name="connsiteY137" fmla="*/ 825917 h 1568450"/>
              <a:gd name="connsiteX138" fmla="*/ 0 w 1877220"/>
              <a:gd name="connsiteY138" fmla="*/ 808446 h 1568450"/>
              <a:gd name="connsiteX139" fmla="*/ 793 w 1877220"/>
              <a:gd name="connsiteY139" fmla="*/ 789386 h 1568450"/>
              <a:gd name="connsiteX140" fmla="*/ 3175 w 1877220"/>
              <a:gd name="connsiteY140" fmla="*/ 771915 h 1568450"/>
              <a:gd name="connsiteX141" fmla="*/ 7143 w 1877220"/>
              <a:gd name="connsiteY141" fmla="*/ 753649 h 1568450"/>
              <a:gd name="connsiteX142" fmla="*/ 11906 w 1877220"/>
              <a:gd name="connsiteY142" fmla="*/ 736972 h 1568450"/>
              <a:gd name="connsiteX143" fmla="*/ 17462 w 1877220"/>
              <a:gd name="connsiteY143" fmla="*/ 720295 h 1568450"/>
              <a:gd name="connsiteX144" fmla="*/ 24606 w 1877220"/>
              <a:gd name="connsiteY144" fmla="*/ 706000 h 1568450"/>
              <a:gd name="connsiteX145" fmla="*/ 34131 w 1877220"/>
              <a:gd name="connsiteY145" fmla="*/ 691706 h 1568450"/>
              <a:gd name="connsiteX146" fmla="*/ 42068 w 1877220"/>
              <a:gd name="connsiteY146" fmla="*/ 678999 h 1568450"/>
              <a:gd name="connsiteX147" fmla="*/ 53181 w 1877220"/>
              <a:gd name="connsiteY147" fmla="*/ 667087 h 1568450"/>
              <a:gd name="connsiteX148" fmla="*/ 65087 w 1877220"/>
              <a:gd name="connsiteY148" fmla="*/ 656763 h 1568450"/>
              <a:gd name="connsiteX149" fmla="*/ 76993 w 1877220"/>
              <a:gd name="connsiteY149" fmla="*/ 648027 h 1568450"/>
              <a:gd name="connsiteX150" fmla="*/ 89693 w 1877220"/>
              <a:gd name="connsiteY150" fmla="*/ 640086 h 1568450"/>
              <a:gd name="connsiteX151" fmla="*/ 103187 w 1877220"/>
              <a:gd name="connsiteY151" fmla="*/ 633733 h 1568450"/>
              <a:gd name="connsiteX152" fmla="*/ 117475 w 1877220"/>
              <a:gd name="connsiteY152" fmla="*/ 628968 h 1568450"/>
              <a:gd name="connsiteX153" fmla="*/ 131762 w 1877220"/>
              <a:gd name="connsiteY153" fmla="*/ 626585 h 1568450"/>
              <a:gd name="connsiteX154" fmla="*/ 144452 w 1877220"/>
              <a:gd name="connsiteY154" fmla="*/ 625916 h 1568450"/>
              <a:gd name="connsiteX155" fmla="*/ 150086 w 1877220"/>
              <a:gd name="connsiteY155" fmla="*/ 626269 h 1568450"/>
              <a:gd name="connsiteX156" fmla="*/ 161997 w 1877220"/>
              <a:gd name="connsiteY156" fmla="*/ 627856 h 1568450"/>
              <a:gd name="connsiteX157" fmla="*/ 173908 w 1877220"/>
              <a:gd name="connsiteY157" fmla="*/ 631031 h 1568450"/>
              <a:gd name="connsiteX158" fmla="*/ 183437 w 1877220"/>
              <a:gd name="connsiteY158" fmla="*/ 635000 h 1568450"/>
              <a:gd name="connsiteX159" fmla="*/ 192966 w 1877220"/>
              <a:gd name="connsiteY159" fmla="*/ 640556 h 1568450"/>
              <a:gd name="connsiteX160" fmla="*/ 200907 w 1877220"/>
              <a:gd name="connsiteY160" fmla="*/ 645319 h 1568450"/>
              <a:gd name="connsiteX161" fmla="*/ 208054 w 1877220"/>
              <a:gd name="connsiteY161" fmla="*/ 651669 h 1568450"/>
              <a:gd name="connsiteX162" fmla="*/ 215201 w 1877220"/>
              <a:gd name="connsiteY162" fmla="*/ 657225 h 1568450"/>
              <a:gd name="connsiteX163" fmla="*/ 226318 w 1877220"/>
              <a:gd name="connsiteY163" fmla="*/ 669131 h 1568450"/>
              <a:gd name="connsiteX164" fmla="*/ 234259 w 1877220"/>
              <a:gd name="connsiteY164" fmla="*/ 678656 h 1568450"/>
              <a:gd name="connsiteX165" fmla="*/ 240611 w 1877220"/>
              <a:gd name="connsiteY165" fmla="*/ 688975 h 1568450"/>
              <a:gd name="connsiteX166" fmla="*/ 243788 w 1877220"/>
              <a:gd name="connsiteY166" fmla="*/ 697706 h 1568450"/>
              <a:gd name="connsiteX167" fmla="*/ 248552 w 1877220"/>
              <a:gd name="connsiteY167" fmla="*/ 704850 h 1568450"/>
              <a:gd name="connsiteX168" fmla="*/ 254905 w 1877220"/>
              <a:gd name="connsiteY168" fmla="*/ 710406 h 1568450"/>
              <a:gd name="connsiteX169" fmla="*/ 259669 w 1877220"/>
              <a:gd name="connsiteY169" fmla="*/ 714375 h 1568450"/>
              <a:gd name="connsiteX170" fmla="*/ 265228 w 1877220"/>
              <a:gd name="connsiteY170" fmla="*/ 717550 h 1568450"/>
              <a:gd name="connsiteX171" fmla="*/ 269992 w 1877220"/>
              <a:gd name="connsiteY171" fmla="*/ 719931 h 1568450"/>
              <a:gd name="connsiteX172" fmla="*/ 275551 w 1877220"/>
              <a:gd name="connsiteY172" fmla="*/ 721519 h 1568450"/>
              <a:gd name="connsiteX173" fmla="*/ 280315 w 1877220"/>
              <a:gd name="connsiteY173" fmla="*/ 721519 h 1568450"/>
              <a:gd name="connsiteX174" fmla="*/ 280503 w 1877220"/>
              <a:gd name="connsiteY174" fmla="*/ 721456 h 1568450"/>
              <a:gd name="connsiteX175" fmla="*/ 281781 w 1877220"/>
              <a:gd name="connsiteY175" fmla="*/ 721883 h 1568450"/>
              <a:gd name="connsiteX176" fmla="*/ 288925 w 1877220"/>
              <a:gd name="connsiteY176" fmla="*/ 721883 h 1568450"/>
              <a:gd name="connsiteX177" fmla="*/ 295275 w 1877220"/>
              <a:gd name="connsiteY177" fmla="*/ 720295 h 1568450"/>
              <a:gd name="connsiteX178" fmla="*/ 300831 w 1877220"/>
              <a:gd name="connsiteY178" fmla="*/ 717119 h 1568450"/>
              <a:gd name="connsiteX179" fmla="*/ 300831 w 1877220"/>
              <a:gd name="connsiteY179" fmla="*/ 703472 h 1568450"/>
              <a:gd name="connsiteX180" fmla="*/ 300962 w 1877220"/>
              <a:gd name="connsiteY180" fmla="*/ 703263 h 1568450"/>
              <a:gd name="connsiteX181" fmla="*/ 303344 w 1877220"/>
              <a:gd name="connsiteY181" fmla="*/ 696119 h 1568450"/>
              <a:gd name="connsiteX182" fmla="*/ 304138 w 1877220"/>
              <a:gd name="connsiteY182" fmla="*/ 688975 h 1568450"/>
              <a:gd name="connsiteX183" fmla="*/ 304138 w 1877220"/>
              <a:gd name="connsiteY183" fmla="*/ 679450 h 1568450"/>
              <a:gd name="connsiteX184" fmla="*/ 304138 w 1877220"/>
              <a:gd name="connsiteY184" fmla="*/ 360363 h 1568450"/>
              <a:gd name="connsiteX185" fmla="*/ 305726 w 1877220"/>
              <a:gd name="connsiteY185" fmla="*/ 360363 h 1568450"/>
              <a:gd name="connsiteX186" fmla="*/ 305726 w 1877220"/>
              <a:gd name="connsiteY186" fmla="*/ 0 h 1568450"/>
              <a:gd name="connsiteX187" fmla="*/ 1877220 w 1877220"/>
              <a:gd name="connsiteY187" fmla="*/ 0 h 156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877220" h="1568450">
                <a:moveTo>
                  <a:pt x="1877220" y="0"/>
                </a:moveTo>
                <a:lnTo>
                  <a:pt x="1877220" y="1568450"/>
                </a:lnTo>
                <a:lnTo>
                  <a:pt x="1198277" y="1568450"/>
                </a:lnTo>
                <a:lnTo>
                  <a:pt x="1188748" y="1568450"/>
                </a:lnTo>
                <a:lnTo>
                  <a:pt x="1180807" y="1566069"/>
                </a:lnTo>
                <a:lnTo>
                  <a:pt x="1173660" y="1565275"/>
                </a:lnTo>
                <a:lnTo>
                  <a:pt x="1168896" y="1561306"/>
                </a:lnTo>
                <a:lnTo>
                  <a:pt x="1164131" y="1558131"/>
                </a:lnTo>
                <a:lnTo>
                  <a:pt x="1160161" y="1554163"/>
                </a:lnTo>
                <a:lnTo>
                  <a:pt x="1157779" y="1549400"/>
                </a:lnTo>
                <a:lnTo>
                  <a:pt x="1157197" y="1545912"/>
                </a:lnTo>
                <a:lnTo>
                  <a:pt x="1159366" y="1540131"/>
                </a:lnTo>
                <a:lnTo>
                  <a:pt x="1162543" y="1535371"/>
                </a:lnTo>
                <a:lnTo>
                  <a:pt x="1167307" y="1529817"/>
                </a:lnTo>
                <a:lnTo>
                  <a:pt x="1173660" y="1525056"/>
                </a:lnTo>
                <a:lnTo>
                  <a:pt x="1180806" y="1520296"/>
                </a:lnTo>
                <a:lnTo>
                  <a:pt x="1188747" y="1515535"/>
                </a:lnTo>
                <a:lnTo>
                  <a:pt x="1198276" y="1509188"/>
                </a:lnTo>
                <a:lnTo>
                  <a:pt x="1208599" y="1502047"/>
                </a:lnTo>
                <a:lnTo>
                  <a:pt x="1220511" y="1491733"/>
                </a:lnTo>
                <a:lnTo>
                  <a:pt x="1226863" y="1484592"/>
                </a:lnTo>
                <a:lnTo>
                  <a:pt x="1232422" y="1477451"/>
                </a:lnTo>
                <a:lnTo>
                  <a:pt x="1237187" y="1468724"/>
                </a:lnTo>
                <a:lnTo>
                  <a:pt x="1241951" y="1459203"/>
                </a:lnTo>
                <a:lnTo>
                  <a:pt x="1246716" y="1448888"/>
                </a:lnTo>
                <a:lnTo>
                  <a:pt x="1249098" y="1438574"/>
                </a:lnTo>
                <a:lnTo>
                  <a:pt x="1251480" y="1426673"/>
                </a:lnTo>
                <a:lnTo>
                  <a:pt x="1253068" y="1413185"/>
                </a:lnTo>
                <a:lnTo>
                  <a:pt x="1252390" y="1406741"/>
                </a:lnTo>
                <a:lnTo>
                  <a:pt x="1253069" y="1400969"/>
                </a:lnTo>
                <a:lnTo>
                  <a:pt x="1251480" y="1385888"/>
                </a:lnTo>
                <a:lnTo>
                  <a:pt x="1249098" y="1371600"/>
                </a:lnTo>
                <a:lnTo>
                  <a:pt x="1244334" y="1357313"/>
                </a:lnTo>
                <a:lnTo>
                  <a:pt x="1238775" y="1343819"/>
                </a:lnTo>
                <a:lnTo>
                  <a:pt x="1230040" y="1331119"/>
                </a:lnTo>
                <a:lnTo>
                  <a:pt x="1222099" y="1319213"/>
                </a:lnTo>
                <a:lnTo>
                  <a:pt x="1210982" y="1308894"/>
                </a:lnTo>
                <a:lnTo>
                  <a:pt x="1199071" y="1297781"/>
                </a:lnTo>
                <a:lnTo>
                  <a:pt x="1186366" y="1288256"/>
                </a:lnTo>
                <a:lnTo>
                  <a:pt x="1172072" y="1280319"/>
                </a:lnTo>
                <a:lnTo>
                  <a:pt x="1156984" y="1273175"/>
                </a:lnTo>
                <a:lnTo>
                  <a:pt x="1141103" y="1266031"/>
                </a:lnTo>
                <a:lnTo>
                  <a:pt x="1124427" y="1261269"/>
                </a:lnTo>
                <a:lnTo>
                  <a:pt x="1106957" y="1257300"/>
                </a:lnTo>
                <a:lnTo>
                  <a:pt x="1088693" y="1254919"/>
                </a:lnTo>
                <a:lnTo>
                  <a:pt x="1070429" y="1254919"/>
                </a:lnTo>
                <a:lnTo>
                  <a:pt x="1052165" y="1254919"/>
                </a:lnTo>
                <a:lnTo>
                  <a:pt x="1033107" y="1257300"/>
                </a:lnTo>
                <a:lnTo>
                  <a:pt x="1016432" y="1261269"/>
                </a:lnTo>
                <a:lnTo>
                  <a:pt x="999756" y="1266031"/>
                </a:lnTo>
                <a:lnTo>
                  <a:pt x="983080" y="1273175"/>
                </a:lnTo>
                <a:lnTo>
                  <a:pt x="967992" y="1280319"/>
                </a:lnTo>
                <a:lnTo>
                  <a:pt x="955287" y="1288256"/>
                </a:lnTo>
                <a:lnTo>
                  <a:pt x="941788" y="1297781"/>
                </a:lnTo>
                <a:lnTo>
                  <a:pt x="929876" y="1308894"/>
                </a:lnTo>
                <a:lnTo>
                  <a:pt x="919553" y="1319213"/>
                </a:lnTo>
                <a:lnTo>
                  <a:pt x="910024" y="1331119"/>
                </a:lnTo>
                <a:lnTo>
                  <a:pt x="902878" y="1343819"/>
                </a:lnTo>
                <a:lnTo>
                  <a:pt x="896525" y="1357313"/>
                </a:lnTo>
                <a:lnTo>
                  <a:pt x="891760" y="1371600"/>
                </a:lnTo>
                <a:lnTo>
                  <a:pt x="889378" y="1385888"/>
                </a:lnTo>
                <a:lnTo>
                  <a:pt x="888584" y="1400969"/>
                </a:lnTo>
                <a:lnTo>
                  <a:pt x="888584" y="1413166"/>
                </a:lnTo>
                <a:lnTo>
                  <a:pt x="888583" y="1413185"/>
                </a:lnTo>
                <a:lnTo>
                  <a:pt x="888583" y="1426673"/>
                </a:lnTo>
                <a:lnTo>
                  <a:pt x="890966" y="1438574"/>
                </a:lnTo>
                <a:lnTo>
                  <a:pt x="894142" y="1448888"/>
                </a:lnTo>
                <a:lnTo>
                  <a:pt x="898112" y="1459203"/>
                </a:lnTo>
                <a:lnTo>
                  <a:pt x="902877" y="1468724"/>
                </a:lnTo>
                <a:lnTo>
                  <a:pt x="908435" y="1477451"/>
                </a:lnTo>
                <a:lnTo>
                  <a:pt x="914788" y="1484592"/>
                </a:lnTo>
                <a:lnTo>
                  <a:pt x="920347" y="1491733"/>
                </a:lnTo>
                <a:lnTo>
                  <a:pt x="932258" y="1502047"/>
                </a:lnTo>
                <a:lnTo>
                  <a:pt x="941787" y="1509188"/>
                </a:lnTo>
                <a:lnTo>
                  <a:pt x="952904" y="1515535"/>
                </a:lnTo>
                <a:lnTo>
                  <a:pt x="960051" y="1520296"/>
                </a:lnTo>
                <a:lnTo>
                  <a:pt x="966404" y="1525056"/>
                </a:lnTo>
                <a:lnTo>
                  <a:pt x="972756" y="1529817"/>
                </a:lnTo>
                <a:lnTo>
                  <a:pt x="977521" y="1535371"/>
                </a:lnTo>
                <a:lnTo>
                  <a:pt x="980697" y="1540131"/>
                </a:lnTo>
                <a:lnTo>
                  <a:pt x="983079" y="1546479"/>
                </a:lnTo>
                <a:lnTo>
                  <a:pt x="983567" y="1547940"/>
                </a:lnTo>
                <a:lnTo>
                  <a:pt x="983080" y="1549400"/>
                </a:lnTo>
                <a:lnTo>
                  <a:pt x="980698" y="1554163"/>
                </a:lnTo>
                <a:lnTo>
                  <a:pt x="977521" y="1558131"/>
                </a:lnTo>
                <a:lnTo>
                  <a:pt x="972757" y="1561306"/>
                </a:lnTo>
                <a:lnTo>
                  <a:pt x="966404" y="1565275"/>
                </a:lnTo>
                <a:lnTo>
                  <a:pt x="960052" y="1566069"/>
                </a:lnTo>
                <a:lnTo>
                  <a:pt x="951317" y="1568450"/>
                </a:lnTo>
                <a:lnTo>
                  <a:pt x="943376" y="1568450"/>
                </a:lnTo>
                <a:lnTo>
                  <a:pt x="305726" y="1568450"/>
                </a:lnTo>
                <a:lnTo>
                  <a:pt x="305726" y="1134269"/>
                </a:lnTo>
                <a:lnTo>
                  <a:pt x="304138" y="1134269"/>
                </a:lnTo>
                <a:lnTo>
                  <a:pt x="304138" y="935038"/>
                </a:lnTo>
                <a:lnTo>
                  <a:pt x="304138" y="925513"/>
                </a:lnTo>
                <a:lnTo>
                  <a:pt x="303344" y="918369"/>
                </a:lnTo>
                <a:lnTo>
                  <a:pt x="300962" y="911225"/>
                </a:lnTo>
                <a:lnTo>
                  <a:pt x="300831" y="911015"/>
                </a:lnTo>
                <a:lnTo>
                  <a:pt x="300831" y="898185"/>
                </a:lnTo>
                <a:lnTo>
                  <a:pt x="295275" y="895008"/>
                </a:lnTo>
                <a:lnTo>
                  <a:pt x="288925" y="893420"/>
                </a:lnTo>
                <a:lnTo>
                  <a:pt x="281781" y="893420"/>
                </a:lnTo>
                <a:lnTo>
                  <a:pt x="281725" y="893438"/>
                </a:lnTo>
                <a:lnTo>
                  <a:pt x="280315" y="892969"/>
                </a:lnTo>
                <a:lnTo>
                  <a:pt x="275551" y="892969"/>
                </a:lnTo>
                <a:lnTo>
                  <a:pt x="269992" y="894556"/>
                </a:lnTo>
                <a:lnTo>
                  <a:pt x="265228" y="896938"/>
                </a:lnTo>
                <a:lnTo>
                  <a:pt x="259669" y="900113"/>
                </a:lnTo>
                <a:lnTo>
                  <a:pt x="254905" y="904081"/>
                </a:lnTo>
                <a:lnTo>
                  <a:pt x="248552" y="909638"/>
                </a:lnTo>
                <a:lnTo>
                  <a:pt x="243788" y="916781"/>
                </a:lnTo>
                <a:lnTo>
                  <a:pt x="240611" y="925513"/>
                </a:lnTo>
                <a:lnTo>
                  <a:pt x="234259" y="935831"/>
                </a:lnTo>
                <a:lnTo>
                  <a:pt x="226318" y="945356"/>
                </a:lnTo>
                <a:lnTo>
                  <a:pt x="215201" y="957263"/>
                </a:lnTo>
                <a:lnTo>
                  <a:pt x="208054" y="963613"/>
                </a:lnTo>
                <a:lnTo>
                  <a:pt x="200907" y="969169"/>
                </a:lnTo>
                <a:lnTo>
                  <a:pt x="192966" y="975519"/>
                </a:lnTo>
                <a:lnTo>
                  <a:pt x="183437" y="980281"/>
                </a:lnTo>
                <a:lnTo>
                  <a:pt x="173908" y="983456"/>
                </a:lnTo>
                <a:lnTo>
                  <a:pt x="161997" y="987425"/>
                </a:lnTo>
                <a:lnTo>
                  <a:pt x="150086" y="988219"/>
                </a:lnTo>
                <a:lnTo>
                  <a:pt x="139535" y="989537"/>
                </a:lnTo>
                <a:lnTo>
                  <a:pt x="131762" y="988718"/>
                </a:lnTo>
                <a:lnTo>
                  <a:pt x="117475" y="986336"/>
                </a:lnTo>
                <a:lnTo>
                  <a:pt x="103187" y="981571"/>
                </a:lnTo>
                <a:lnTo>
                  <a:pt x="89693" y="976012"/>
                </a:lnTo>
                <a:lnTo>
                  <a:pt x="76993" y="967276"/>
                </a:lnTo>
                <a:lnTo>
                  <a:pt x="65087" y="959335"/>
                </a:lnTo>
                <a:lnTo>
                  <a:pt x="53181" y="948217"/>
                </a:lnTo>
                <a:lnTo>
                  <a:pt x="42068" y="936304"/>
                </a:lnTo>
                <a:lnTo>
                  <a:pt x="34131" y="923598"/>
                </a:lnTo>
                <a:lnTo>
                  <a:pt x="24606" y="909303"/>
                </a:lnTo>
                <a:lnTo>
                  <a:pt x="17462" y="895008"/>
                </a:lnTo>
                <a:lnTo>
                  <a:pt x="11906" y="878331"/>
                </a:lnTo>
                <a:lnTo>
                  <a:pt x="7143" y="861654"/>
                </a:lnTo>
                <a:lnTo>
                  <a:pt x="3175" y="844183"/>
                </a:lnTo>
                <a:lnTo>
                  <a:pt x="793" y="825917"/>
                </a:lnTo>
                <a:lnTo>
                  <a:pt x="0" y="808446"/>
                </a:lnTo>
                <a:lnTo>
                  <a:pt x="793" y="789386"/>
                </a:lnTo>
                <a:lnTo>
                  <a:pt x="3175" y="771915"/>
                </a:lnTo>
                <a:lnTo>
                  <a:pt x="7143" y="753649"/>
                </a:lnTo>
                <a:lnTo>
                  <a:pt x="11906" y="736972"/>
                </a:lnTo>
                <a:lnTo>
                  <a:pt x="17462" y="720295"/>
                </a:lnTo>
                <a:lnTo>
                  <a:pt x="24606" y="706000"/>
                </a:lnTo>
                <a:lnTo>
                  <a:pt x="34131" y="691706"/>
                </a:lnTo>
                <a:lnTo>
                  <a:pt x="42068" y="678999"/>
                </a:lnTo>
                <a:lnTo>
                  <a:pt x="53181" y="667087"/>
                </a:lnTo>
                <a:lnTo>
                  <a:pt x="65087" y="656763"/>
                </a:lnTo>
                <a:lnTo>
                  <a:pt x="76993" y="648027"/>
                </a:lnTo>
                <a:lnTo>
                  <a:pt x="89693" y="640086"/>
                </a:lnTo>
                <a:lnTo>
                  <a:pt x="103187" y="633733"/>
                </a:lnTo>
                <a:lnTo>
                  <a:pt x="117475" y="628968"/>
                </a:lnTo>
                <a:lnTo>
                  <a:pt x="131762" y="626585"/>
                </a:lnTo>
                <a:lnTo>
                  <a:pt x="144452" y="625916"/>
                </a:lnTo>
                <a:lnTo>
                  <a:pt x="150086" y="626269"/>
                </a:lnTo>
                <a:lnTo>
                  <a:pt x="161997" y="627856"/>
                </a:lnTo>
                <a:lnTo>
                  <a:pt x="173908" y="631031"/>
                </a:lnTo>
                <a:lnTo>
                  <a:pt x="183437" y="635000"/>
                </a:lnTo>
                <a:lnTo>
                  <a:pt x="192966" y="640556"/>
                </a:lnTo>
                <a:lnTo>
                  <a:pt x="200907" y="645319"/>
                </a:lnTo>
                <a:lnTo>
                  <a:pt x="208054" y="651669"/>
                </a:lnTo>
                <a:lnTo>
                  <a:pt x="215201" y="657225"/>
                </a:lnTo>
                <a:lnTo>
                  <a:pt x="226318" y="669131"/>
                </a:lnTo>
                <a:lnTo>
                  <a:pt x="234259" y="678656"/>
                </a:lnTo>
                <a:lnTo>
                  <a:pt x="240611" y="688975"/>
                </a:lnTo>
                <a:lnTo>
                  <a:pt x="243788" y="697706"/>
                </a:lnTo>
                <a:lnTo>
                  <a:pt x="248552" y="704850"/>
                </a:lnTo>
                <a:lnTo>
                  <a:pt x="254905" y="710406"/>
                </a:lnTo>
                <a:lnTo>
                  <a:pt x="259669" y="714375"/>
                </a:lnTo>
                <a:lnTo>
                  <a:pt x="265228" y="717550"/>
                </a:lnTo>
                <a:lnTo>
                  <a:pt x="269992" y="719931"/>
                </a:lnTo>
                <a:lnTo>
                  <a:pt x="275551" y="721519"/>
                </a:lnTo>
                <a:lnTo>
                  <a:pt x="280315" y="721519"/>
                </a:lnTo>
                <a:lnTo>
                  <a:pt x="280503" y="721456"/>
                </a:lnTo>
                <a:lnTo>
                  <a:pt x="281781" y="721883"/>
                </a:lnTo>
                <a:lnTo>
                  <a:pt x="288925" y="721883"/>
                </a:lnTo>
                <a:lnTo>
                  <a:pt x="295275" y="720295"/>
                </a:lnTo>
                <a:lnTo>
                  <a:pt x="300831" y="717119"/>
                </a:lnTo>
                <a:lnTo>
                  <a:pt x="300831" y="703472"/>
                </a:lnTo>
                <a:lnTo>
                  <a:pt x="300962" y="703263"/>
                </a:lnTo>
                <a:lnTo>
                  <a:pt x="303344" y="696119"/>
                </a:lnTo>
                <a:lnTo>
                  <a:pt x="304138" y="688975"/>
                </a:lnTo>
                <a:lnTo>
                  <a:pt x="304138" y="679450"/>
                </a:lnTo>
                <a:lnTo>
                  <a:pt x="304138" y="360363"/>
                </a:lnTo>
                <a:lnTo>
                  <a:pt x="305726" y="360363"/>
                </a:lnTo>
                <a:lnTo>
                  <a:pt x="305726" y="0"/>
                </a:lnTo>
                <a:lnTo>
                  <a:pt x="1877220" y="0"/>
                </a:lnTo>
                <a:close/>
              </a:path>
            </a:pathLst>
          </a:custGeom>
          <a:ln>
            <a:solidFill>
              <a:schemeClr val="tx1">
                <a:lumMod val="50000"/>
                <a:lumOff val="50000"/>
              </a:schemeClr>
            </a:solidFill>
          </a:ln>
        </p:spPr>
      </p:pic>
      <p:pic>
        <p:nvPicPr>
          <p:cNvPr id="5" name="Picture 4">
            <a:extLst>
              <a:ext uri="{FF2B5EF4-FFF2-40B4-BE49-F238E27FC236}">
                <a16:creationId xmlns:a16="http://schemas.microsoft.com/office/drawing/2014/main" id="{D066A1FD-BA29-4729-94ED-6EC16A0F7648}"/>
              </a:ext>
            </a:extLst>
          </p:cNvPr>
          <p:cNvPicPr>
            <a:picLocks noChangeAspect="1"/>
          </p:cNvPicPr>
          <p:nvPr/>
        </p:nvPicPr>
        <p:blipFill rotWithShape="1">
          <a:blip r:embed="rId2"/>
          <a:srcRect l="61224" t="20278" r="3861" b="50108"/>
          <a:stretch/>
        </p:blipFill>
        <p:spPr>
          <a:xfrm>
            <a:off x="10326157" y="4383069"/>
            <a:ext cx="1748860" cy="2323944"/>
          </a:xfrm>
          <a:custGeom>
            <a:avLst/>
            <a:gdLst>
              <a:gd name="connsiteX0" fmla="*/ 1882776 w 1882776"/>
              <a:gd name="connsiteY0" fmla="*/ 313399 h 1885950"/>
              <a:gd name="connsiteX1" fmla="*/ 1882775 w 1882776"/>
              <a:gd name="connsiteY1" fmla="*/ 1885950 h 1885950"/>
              <a:gd name="connsiteX2" fmla="*/ 1172069 w 1882776"/>
              <a:gd name="connsiteY2" fmla="*/ 1885950 h 1885950"/>
              <a:gd name="connsiteX3" fmla="*/ 1165716 w 1882776"/>
              <a:gd name="connsiteY3" fmla="*/ 1880396 h 1885950"/>
              <a:gd name="connsiteX4" fmla="*/ 1162540 w 1882776"/>
              <a:gd name="connsiteY4" fmla="*/ 1874049 h 1885950"/>
              <a:gd name="connsiteX5" fmla="*/ 1161318 w 1882776"/>
              <a:gd name="connsiteY5" fmla="*/ 1868553 h 1885950"/>
              <a:gd name="connsiteX6" fmla="*/ 1162440 w 1882776"/>
              <a:gd name="connsiteY6" fmla="*/ 1865562 h 1885950"/>
              <a:gd name="connsiteX7" fmla="*/ 1165617 w 1882776"/>
              <a:gd name="connsiteY7" fmla="*/ 1860802 h 1885950"/>
              <a:gd name="connsiteX8" fmla="*/ 1170381 w 1882776"/>
              <a:gd name="connsiteY8" fmla="*/ 1855248 h 1885950"/>
              <a:gd name="connsiteX9" fmla="*/ 1176734 w 1882776"/>
              <a:gd name="connsiteY9" fmla="*/ 1850487 h 1885950"/>
              <a:gd name="connsiteX10" fmla="*/ 1183880 w 1882776"/>
              <a:gd name="connsiteY10" fmla="*/ 1845727 h 1885950"/>
              <a:gd name="connsiteX11" fmla="*/ 1191821 w 1882776"/>
              <a:gd name="connsiteY11" fmla="*/ 1840966 h 1885950"/>
              <a:gd name="connsiteX12" fmla="*/ 1201350 w 1882776"/>
              <a:gd name="connsiteY12" fmla="*/ 1834619 h 1885950"/>
              <a:gd name="connsiteX13" fmla="*/ 1211673 w 1882776"/>
              <a:gd name="connsiteY13" fmla="*/ 1827478 h 1885950"/>
              <a:gd name="connsiteX14" fmla="*/ 1223585 w 1882776"/>
              <a:gd name="connsiteY14" fmla="*/ 1817164 h 1885950"/>
              <a:gd name="connsiteX15" fmla="*/ 1229937 w 1882776"/>
              <a:gd name="connsiteY15" fmla="*/ 1810023 h 1885950"/>
              <a:gd name="connsiteX16" fmla="*/ 1235496 w 1882776"/>
              <a:gd name="connsiteY16" fmla="*/ 1802883 h 1885950"/>
              <a:gd name="connsiteX17" fmla="*/ 1240261 w 1882776"/>
              <a:gd name="connsiteY17" fmla="*/ 1794155 h 1885950"/>
              <a:gd name="connsiteX18" fmla="*/ 1245025 w 1882776"/>
              <a:gd name="connsiteY18" fmla="*/ 1784634 h 1885950"/>
              <a:gd name="connsiteX19" fmla="*/ 1249790 w 1882776"/>
              <a:gd name="connsiteY19" fmla="*/ 1774320 h 1885950"/>
              <a:gd name="connsiteX20" fmla="*/ 1252172 w 1882776"/>
              <a:gd name="connsiteY20" fmla="*/ 1764005 h 1885950"/>
              <a:gd name="connsiteX21" fmla="*/ 1254482 w 1882776"/>
              <a:gd name="connsiteY21" fmla="*/ 1752466 h 1885950"/>
              <a:gd name="connsiteX22" fmla="*/ 1254654 w 1882776"/>
              <a:gd name="connsiteY22" fmla="*/ 1751863 h 1885950"/>
              <a:gd name="connsiteX23" fmla="*/ 1257036 w 1882776"/>
              <a:gd name="connsiteY23" fmla="*/ 1739962 h 1885950"/>
              <a:gd name="connsiteX24" fmla="*/ 1257036 w 1882776"/>
              <a:gd name="connsiteY24" fmla="*/ 1727267 h 1885950"/>
              <a:gd name="connsiteX25" fmla="*/ 1257036 w 1882776"/>
              <a:gd name="connsiteY25" fmla="*/ 1711399 h 1885950"/>
              <a:gd name="connsiteX26" fmla="*/ 1253860 w 1882776"/>
              <a:gd name="connsiteY26" fmla="*/ 1697117 h 1885950"/>
              <a:gd name="connsiteX27" fmla="*/ 1249889 w 1882776"/>
              <a:gd name="connsiteY27" fmla="*/ 1682836 h 1885950"/>
              <a:gd name="connsiteX28" fmla="*/ 1242743 w 1882776"/>
              <a:gd name="connsiteY28" fmla="*/ 1670141 h 1885950"/>
              <a:gd name="connsiteX29" fmla="*/ 1235596 w 1882776"/>
              <a:gd name="connsiteY29" fmla="*/ 1657446 h 1885950"/>
              <a:gd name="connsiteX30" fmla="*/ 1226067 w 1882776"/>
              <a:gd name="connsiteY30" fmla="*/ 1645545 h 1885950"/>
              <a:gd name="connsiteX31" fmla="*/ 1215744 w 1882776"/>
              <a:gd name="connsiteY31" fmla="*/ 1634437 h 1885950"/>
              <a:gd name="connsiteX32" fmla="*/ 1203832 w 1882776"/>
              <a:gd name="connsiteY32" fmla="*/ 1624123 h 1885950"/>
              <a:gd name="connsiteX33" fmla="*/ 1191921 w 1882776"/>
              <a:gd name="connsiteY33" fmla="*/ 1614602 h 1885950"/>
              <a:gd name="connsiteX34" fmla="*/ 1177628 w 1882776"/>
              <a:gd name="connsiteY34" fmla="*/ 1605874 h 1885950"/>
              <a:gd name="connsiteX35" fmla="*/ 1162540 w 1882776"/>
              <a:gd name="connsiteY35" fmla="*/ 1598734 h 1885950"/>
              <a:gd name="connsiteX36" fmla="*/ 1146658 w 1882776"/>
              <a:gd name="connsiteY36" fmla="*/ 1591593 h 1885950"/>
              <a:gd name="connsiteX37" fmla="*/ 1129982 w 1882776"/>
              <a:gd name="connsiteY37" fmla="*/ 1586832 h 1885950"/>
              <a:gd name="connsiteX38" fmla="*/ 1112513 w 1882776"/>
              <a:gd name="connsiteY38" fmla="*/ 1583659 h 1885950"/>
              <a:gd name="connsiteX39" fmla="*/ 1094249 w 1882776"/>
              <a:gd name="connsiteY39" fmla="*/ 1581278 h 1885950"/>
              <a:gd name="connsiteX40" fmla="*/ 1075985 w 1882776"/>
              <a:gd name="connsiteY40" fmla="*/ 1581278 h 1885950"/>
              <a:gd name="connsiteX41" fmla="*/ 1056927 w 1882776"/>
              <a:gd name="connsiteY41" fmla="*/ 1581278 h 1885950"/>
              <a:gd name="connsiteX42" fmla="*/ 1038663 w 1882776"/>
              <a:gd name="connsiteY42" fmla="*/ 1583659 h 1885950"/>
              <a:gd name="connsiteX43" fmla="*/ 1021193 w 1882776"/>
              <a:gd name="connsiteY43" fmla="*/ 1586832 h 1885950"/>
              <a:gd name="connsiteX44" fmla="*/ 1004517 w 1882776"/>
              <a:gd name="connsiteY44" fmla="*/ 1591593 h 1885950"/>
              <a:gd name="connsiteX45" fmla="*/ 988635 w 1882776"/>
              <a:gd name="connsiteY45" fmla="*/ 1598734 h 1885950"/>
              <a:gd name="connsiteX46" fmla="*/ 973548 w 1882776"/>
              <a:gd name="connsiteY46" fmla="*/ 1605874 h 1885950"/>
              <a:gd name="connsiteX47" fmla="*/ 959254 w 1882776"/>
              <a:gd name="connsiteY47" fmla="*/ 1614602 h 1885950"/>
              <a:gd name="connsiteX48" fmla="*/ 946549 w 1882776"/>
              <a:gd name="connsiteY48" fmla="*/ 1624123 h 1885950"/>
              <a:gd name="connsiteX49" fmla="*/ 935432 w 1882776"/>
              <a:gd name="connsiteY49" fmla="*/ 1634437 h 1885950"/>
              <a:gd name="connsiteX50" fmla="*/ 925109 w 1882776"/>
              <a:gd name="connsiteY50" fmla="*/ 1645545 h 1885950"/>
              <a:gd name="connsiteX51" fmla="*/ 915580 w 1882776"/>
              <a:gd name="connsiteY51" fmla="*/ 1657446 h 1885950"/>
              <a:gd name="connsiteX52" fmla="*/ 908433 w 1882776"/>
              <a:gd name="connsiteY52" fmla="*/ 1670141 h 1885950"/>
              <a:gd name="connsiteX53" fmla="*/ 901286 w 1882776"/>
              <a:gd name="connsiteY53" fmla="*/ 1682836 h 1885950"/>
              <a:gd name="connsiteX54" fmla="*/ 897316 w 1882776"/>
              <a:gd name="connsiteY54" fmla="*/ 1697117 h 1885950"/>
              <a:gd name="connsiteX55" fmla="*/ 894139 w 1882776"/>
              <a:gd name="connsiteY55" fmla="*/ 1711399 h 1885950"/>
              <a:gd name="connsiteX56" fmla="*/ 894139 w 1882776"/>
              <a:gd name="connsiteY56" fmla="*/ 1713424 h 1885950"/>
              <a:gd name="connsiteX57" fmla="*/ 892451 w 1882776"/>
              <a:gd name="connsiteY57" fmla="*/ 1723541 h 1885950"/>
              <a:gd name="connsiteX58" fmla="*/ 891657 w 1882776"/>
              <a:gd name="connsiteY58" fmla="*/ 1738616 h 1885950"/>
              <a:gd name="connsiteX59" fmla="*/ 891657 w 1882776"/>
              <a:gd name="connsiteY59" fmla="*/ 1752104 h 1885950"/>
              <a:gd name="connsiteX60" fmla="*/ 894040 w 1882776"/>
              <a:gd name="connsiteY60" fmla="*/ 1764005 h 1885950"/>
              <a:gd name="connsiteX61" fmla="*/ 897216 w 1882776"/>
              <a:gd name="connsiteY61" fmla="*/ 1774320 h 1885950"/>
              <a:gd name="connsiteX62" fmla="*/ 901186 w 1882776"/>
              <a:gd name="connsiteY62" fmla="*/ 1784634 h 1885950"/>
              <a:gd name="connsiteX63" fmla="*/ 905951 w 1882776"/>
              <a:gd name="connsiteY63" fmla="*/ 1794155 h 1885950"/>
              <a:gd name="connsiteX64" fmla="*/ 911509 w 1882776"/>
              <a:gd name="connsiteY64" fmla="*/ 1802883 h 1885950"/>
              <a:gd name="connsiteX65" fmla="*/ 917862 w 1882776"/>
              <a:gd name="connsiteY65" fmla="*/ 1810023 h 1885950"/>
              <a:gd name="connsiteX66" fmla="*/ 923421 w 1882776"/>
              <a:gd name="connsiteY66" fmla="*/ 1817164 h 1885950"/>
              <a:gd name="connsiteX67" fmla="*/ 935332 w 1882776"/>
              <a:gd name="connsiteY67" fmla="*/ 1827478 h 1885950"/>
              <a:gd name="connsiteX68" fmla="*/ 944861 w 1882776"/>
              <a:gd name="connsiteY68" fmla="*/ 1834619 h 1885950"/>
              <a:gd name="connsiteX69" fmla="*/ 955978 w 1882776"/>
              <a:gd name="connsiteY69" fmla="*/ 1840966 h 1885950"/>
              <a:gd name="connsiteX70" fmla="*/ 963125 w 1882776"/>
              <a:gd name="connsiteY70" fmla="*/ 1845727 h 1885950"/>
              <a:gd name="connsiteX71" fmla="*/ 969478 w 1882776"/>
              <a:gd name="connsiteY71" fmla="*/ 1850487 h 1885950"/>
              <a:gd name="connsiteX72" fmla="*/ 975830 w 1882776"/>
              <a:gd name="connsiteY72" fmla="*/ 1855248 h 1885950"/>
              <a:gd name="connsiteX73" fmla="*/ 980595 w 1882776"/>
              <a:gd name="connsiteY73" fmla="*/ 1860802 h 1885950"/>
              <a:gd name="connsiteX74" fmla="*/ 983771 w 1882776"/>
              <a:gd name="connsiteY74" fmla="*/ 1865562 h 1885950"/>
              <a:gd name="connsiteX75" fmla="*/ 986153 w 1882776"/>
              <a:gd name="connsiteY75" fmla="*/ 1871910 h 1885950"/>
              <a:gd name="connsiteX76" fmla="*/ 987575 w 1882776"/>
              <a:gd name="connsiteY76" fmla="*/ 1876168 h 1885950"/>
              <a:gd name="connsiteX77" fmla="*/ 985459 w 1882776"/>
              <a:gd name="connsiteY77" fmla="*/ 1880396 h 1885950"/>
              <a:gd name="connsiteX78" fmla="*/ 979106 w 1882776"/>
              <a:gd name="connsiteY78" fmla="*/ 1885950 h 1885950"/>
              <a:gd name="connsiteX79" fmla="*/ 314325 w 1882776"/>
              <a:gd name="connsiteY79" fmla="*/ 1885950 h 1885950"/>
              <a:gd name="connsiteX80" fmla="*/ 314325 w 1882776"/>
              <a:gd name="connsiteY80" fmla="*/ 1251195 h 1885950"/>
              <a:gd name="connsiteX81" fmla="*/ 313663 w 1882776"/>
              <a:gd name="connsiteY81" fmla="*/ 1243256 h 1885950"/>
              <a:gd name="connsiteX82" fmla="*/ 313663 w 1882776"/>
              <a:gd name="connsiteY82" fmla="*/ 1240903 h 1885950"/>
              <a:gd name="connsiteX83" fmla="*/ 312075 w 1882776"/>
              <a:gd name="connsiteY83" fmla="*/ 1232175 h 1885950"/>
              <a:gd name="connsiteX84" fmla="*/ 309693 w 1882776"/>
              <a:gd name="connsiteY84" fmla="*/ 1225035 h 1885950"/>
              <a:gd name="connsiteX85" fmla="*/ 306517 w 1882776"/>
              <a:gd name="connsiteY85" fmla="*/ 1219481 h 1885950"/>
              <a:gd name="connsiteX86" fmla="*/ 304630 w 1882776"/>
              <a:gd name="connsiteY86" fmla="*/ 1217218 h 1885950"/>
              <a:gd name="connsiteX87" fmla="*/ 304006 w 1882776"/>
              <a:gd name="connsiteY87" fmla="*/ 1216283 h 1885950"/>
              <a:gd name="connsiteX88" fmla="*/ 303537 w 1882776"/>
              <a:gd name="connsiteY88" fmla="*/ 1215907 h 1885950"/>
              <a:gd name="connsiteX89" fmla="*/ 302546 w 1882776"/>
              <a:gd name="connsiteY89" fmla="*/ 1214720 h 1885950"/>
              <a:gd name="connsiteX90" fmla="*/ 299370 w 1882776"/>
              <a:gd name="connsiteY90" fmla="*/ 1210753 h 1885950"/>
              <a:gd name="connsiteX91" fmla="*/ 294605 w 1882776"/>
              <a:gd name="connsiteY91" fmla="*/ 1208373 h 1885950"/>
              <a:gd name="connsiteX92" fmla="*/ 289841 w 1882776"/>
              <a:gd name="connsiteY92" fmla="*/ 1207579 h 1885950"/>
              <a:gd name="connsiteX93" fmla="*/ 285076 w 1882776"/>
              <a:gd name="connsiteY93" fmla="*/ 1207579 h 1885950"/>
              <a:gd name="connsiteX94" fmla="*/ 278724 w 1882776"/>
              <a:gd name="connsiteY94" fmla="*/ 1208373 h 1885950"/>
              <a:gd name="connsiteX95" fmla="*/ 273959 w 1882776"/>
              <a:gd name="connsiteY95" fmla="*/ 1210753 h 1885950"/>
              <a:gd name="connsiteX96" fmla="*/ 268400 w 1882776"/>
              <a:gd name="connsiteY96" fmla="*/ 1214720 h 1885950"/>
              <a:gd name="connsiteX97" fmla="*/ 263636 w 1882776"/>
              <a:gd name="connsiteY97" fmla="*/ 1219481 h 1885950"/>
              <a:gd name="connsiteX98" fmla="*/ 258077 w 1882776"/>
              <a:gd name="connsiteY98" fmla="*/ 1225035 h 1885950"/>
              <a:gd name="connsiteX99" fmla="*/ 253313 w 1882776"/>
              <a:gd name="connsiteY99" fmla="*/ 1232175 h 1885950"/>
              <a:gd name="connsiteX100" fmla="*/ 249342 w 1882776"/>
              <a:gd name="connsiteY100" fmla="*/ 1240903 h 1885950"/>
              <a:gd name="connsiteX101" fmla="*/ 243784 w 1882776"/>
              <a:gd name="connsiteY101" fmla="*/ 1250424 h 1885950"/>
              <a:gd name="connsiteX102" fmla="*/ 235049 w 1882776"/>
              <a:gd name="connsiteY102" fmla="*/ 1260738 h 1885950"/>
              <a:gd name="connsiteX103" fmla="*/ 224726 w 1882776"/>
              <a:gd name="connsiteY103" fmla="*/ 1272640 h 1885950"/>
              <a:gd name="connsiteX104" fmla="*/ 217579 w 1882776"/>
              <a:gd name="connsiteY104" fmla="*/ 1278987 h 1885950"/>
              <a:gd name="connsiteX105" fmla="*/ 210432 w 1882776"/>
              <a:gd name="connsiteY105" fmla="*/ 1284541 h 1885950"/>
              <a:gd name="connsiteX106" fmla="*/ 201697 w 1882776"/>
              <a:gd name="connsiteY106" fmla="*/ 1289301 h 1885950"/>
              <a:gd name="connsiteX107" fmla="*/ 192168 w 1882776"/>
              <a:gd name="connsiteY107" fmla="*/ 1294062 h 1885950"/>
              <a:gd name="connsiteX108" fmla="*/ 182639 w 1882776"/>
              <a:gd name="connsiteY108" fmla="*/ 1298822 h 1885950"/>
              <a:gd name="connsiteX109" fmla="*/ 170728 w 1882776"/>
              <a:gd name="connsiteY109" fmla="*/ 1301203 h 1885950"/>
              <a:gd name="connsiteX110" fmla="*/ 158817 w 1882776"/>
              <a:gd name="connsiteY110" fmla="*/ 1303583 h 1885950"/>
              <a:gd name="connsiteX111" fmla="*/ 146111 w 1882776"/>
              <a:gd name="connsiteY111" fmla="*/ 1305170 h 1885950"/>
              <a:gd name="connsiteX112" fmla="*/ 131024 w 1882776"/>
              <a:gd name="connsiteY112" fmla="*/ 1303583 h 1885950"/>
              <a:gd name="connsiteX113" fmla="*/ 116730 w 1882776"/>
              <a:gd name="connsiteY113" fmla="*/ 1300409 h 1885950"/>
              <a:gd name="connsiteX114" fmla="*/ 102437 w 1882776"/>
              <a:gd name="connsiteY114" fmla="*/ 1296442 h 1885950"/>
              <a:gd name="connsiteX115" fmla="*/ 88937 w 1882776"/>
              <a:gd name="connsiteY115" fmla="*/ 1289301 h 1885950"/>
              <a:gd name="connsiteX116" fmla="*/ 76232 w 1882776"/>
              <a:gd name="connsiteY116" fmla="*/ 1282161 h 1885950"/>
              <a:gd name="connsiteX117" fmla="*/ 64321 w 1882776"/>
              <a:gd name="connsiteY117" fmla="*/ 1272640 h 1885950"/>
              <a:gd name="connsiteX118" fmla="*/ 53203 w 1882776"/>
              <a:gd name="connsiteY118" fmla="*/ 1262325 h 1885950"/>
              <a:gd name="connsiteX119" fmla="*/ 47645 w 1882776"/>
              <a:gd name="connsiteY119" fmla="*/ 1256344 h 1885950"/>
              <a:gd name="connsiteX120" fmla="*/ 44450 w 1882776"/>
              <a:gd name="connsiteY120" fmla="*/ 1251989 h 1885950"/>
              <a:gd name="connsiteX121" fmla="*/ 34925 w 1882776"/>
              <a:gd name="connsiteY121" fmla="*/ 1239293 h 1885950"/>
              <a:gd name="connsiteX122" fmla="*/ 26194 w 1882776"/>
              <a:gd name="connsiteY122" fmla="*/ 1225011 h 1885950"/>
              <a:gd name="connsiteX123" fmla="*/ 21815 w 1882776"/>
              <a:gd name="connsiteY123" fmla="*/ 1216255 h 1885950"/>
              <a:gd name="connsiteX124" fmla="*/ 18264 w 1882776"/>
              <a:gd name="connsiteY124" fmla="*/ 1208373 h 1885950"/>
              <a:gd name="connsiteX125" fmla="*/ 15290 w 1882776"/>
              <a:gd name="connsiteY125" fmla="*/ 1202098 h 1885950"/>
              <a:gd name="connsiteX126" fmla="*/ 11906 w 1882776"/>
              <a:gd name="connsiteY126" fmla="*/ 1194066 h 1885950"/>
              <a:gd name="connsiteX127" fmla="*/ 7144 w 1882776"/>
              <a:gd name="connsiteY127" fmla="*/ 1177403 h 1885950"/>
              <a:gd name="connsiteX128" fmla="*/ 3969 w 1882776"/>
              <a:gd name="connsiteY128" fmla="*/ 1159947 h 1885950"/>
              <a:gd name="connsiteX129" fmla="*/ 1587 w 1882776"/>
              <a:gd name="connsiteY129" fmla="*/ 1141697 h 1885950"/>
              <a:gd name="connsiteX130" fmla="*/ 0 w 1882776"/>
              <a:gd name="connsiteY130" fmla="*/ 1122654 h 1885950"/>
              <a:gd name="connsiteX131" fmla="*/ 1587 w 1882776"/>
              <a:gd name="connsiteY131" fmla="*/ 1105198 h 1885950"/>
              <a:gd name="connsiteX132" fmla="*/ 3969 w 1882776"/>
              <a:gd name="connsiteY132" fmla="*/ 1086155 h 1885950"/>
              <a:gd name="connsiteX133" fmla="*/ 7144 w 1882776"/>
              <a:gd name="connsiteY133" fmla="*/ 1069492 h 1885950"/>
              <a:gd name="connsiteX134" fmla="*/ 11906 w 1882776"/>
              <a:gd name="connsiteY134" fmla="*/ 1052829 h 1885950"/>
              <a:gd name="connsiteX135" fmla="*/ 18256 w 1882776"/>
              <a:gd name="connsiteY135" fmla="*/ 1036166 h 1885950"/>
              <a:gd name="connsiteX136" fmla="*/ 26194 w 1882776"/>
              <a:gd name="connsiteY136" fmla="*/ 1021091 h 1885950"/>
              <a:gd name="connsiteX137" fmla="*/ 34925 w 1882776"/>
              <a:gd name="connsiteY137" fmla="*/ 1007602 h 1885950"/>
              <a:gd name="connsiteX138" fmla="*/ 44450 w 1882776"/>
              <a:gd name="connsiteY138" fmla="*/ 994906 h 1885950"/>
              <a:gd name="connsiteX139" fmla="*/ 53181 w 1882776"/>
              <a:gd name="connsiteY139" fmla="*/ 983004 h 1885950"/>
              <a:gd name="connsiteX140" fmla="*/ 65087 w 1882776"/>
              <a:gd name="connsiteY140" fmla="*/ 972689 h 1885950"/>
              <a:gd name="connsiteX141" fmla="*/ 76994 w 1882776"/>
              <a:gd name="connsiteY141" fmla="*/ 963168 h 1885950"/>
              <a:gd name="connsiteX142" fmla="*/ 90487 w 1882776"/>
              <a:gd name="connsiteY142" fmla="*/ 956027 h 1885950"/>
              <a:gd name="connsiteX143" fmla="*/ 103187 w 1882776"/>
              <a:gd name="connsiteY143" fmla="*/ 949679 h 1885950"/>
              <a:gd name="connsiteX144" fmla="*/ 117475 w 1882776"/>
              <a:gd name="connsiteY144" fmla="*/ 944918 h 1885950"/>
              <a:gd name="connsiteX145" fmla="*/ 131762 w 1882776"/>
              <a:gd name="connsiteY145" fmla="*/ 942538 h 1885950"/>
              <a:gd name="connsiteX146" fmla="*/ 147637 w 1882776"/>
              <a:gd name="connsiteY146" fmla="*/ 941744 h 1885950"/>
              <a:gd name="connsiteX147" fmla="*/ 160337 w 1882776"/>
              <a:gd name="connsiteY147" fmla="*/ 941744 h 1885950"/>
              <a:gd name="connsiteX148" fmla="*/ 172244 w 1882776"/>
              <a:gd name="connsiteY148" fmla="*/ 944125 h 1885950"/>
              <a:gd name="connsiteX149" fmla="*/ 182562 w 1882776"/>
              <a:gd name="connsiteY149" fmla="*/ 947298 h 1885950"/>
              <a:gd name="connsiteX150" fmla="*/ 193675 w 1882776"/>
              <a:gd name="connsiteY150" fmla="*/ 951266 h 1885950"/>
              <a:gd name="connsiteX151" fmla="*/ 201717 w 1882776"/>
              <a:gd name="connsiteY151" fmla="*/ 955285 h 1885950"/>
              <a:gd name="connsiteX152" fmla="*/ 206355 w 1882776"/>
              <a:gd name="connsiteY152" fmla="*/ 958234 h 1885950"/>
              <a:gd name="connsiteX153" fmla="*/ 211137 w 1882776"/>
              <a:gd name="connsiteY153" fmla="*/ 961581 h 1885950"/>
              <a:gd name="connsiteX154" fmla="*/ 218281 w 1882776"/>
              <a:gd name="connsiteY154" fmla="*/ 967929 h 1885950"/>
              <a:gd name="connsiteX155" fmla="*/ 225425 w 1882776"/>
              <a:gd name="connsiteY155" fmla="*/ 973483 h 1885950"/>
              <a:gd name="connsiteX156" fmla="*/ 236537 w 1882776"/>
              <a:gd name="connsiteY156" fmla="*/ 985385 h 1885950"/>
              <a:gd name="connsiteX157" fmla="*/ 243681 w 1882776"/>
              <a:gd name="connsiteY157" fmla="*/ 994906 h 1885950"/>
              <a:gd name="connsiteX158" fmla="*/ 249237 w 1882776"/>
              <a:gd name="connsiteY158" fmla="*/ 1005221 h 1885950"/>
              <a:gd name="connsiteX159" fmla="*/ 254000 w 1882776"/>
              <a:gd name="connsiteY159" fmla="*/ 1013949 h 1885950"/>
              <a:gd name="connsiteX160" fmla="*/ 257954 w 1882776"/>
              <a:gd name="connsiteY160" fmla="*/ 1018560 h 1885950"/>
              <a:gd name="connsiteX161" fmla="*/ 258077 w 1882776"/>
              <a:gd name="connsiteY161" fmla="*/ 1018746 h 1885950"/>
              <a:gd name="connsiteX162" fmla="*/ 262842 w 1882776"/>
              <a:gd name="connsiteY162" fmla="*/ 1025094 h 1885950"/>
              <a:gd name="connsiteX163" fmla="*/ 263164 w 1882776"/>
              <a:gd name="connsiteY163" fmla="*/ 1025369 h 1885950"/>
              <a:gd name="connsiteX164" fmla="*/ 263525 w 1882776"/>
              <a:gd name="connsiteY164" fmla="*/ 1025851 h 1885950"/>
              <a:gd name="connsiteX165" fmla="*/ 265139 w 1882776"/>
              <a:gd name="connsiteY165" fmla="*/ 1027060 h 1885950"/>
              <a:gd name="connsiteX166" fmla="*/ 268400 w 1882776"/>
              <a:gd name="connsiteY166" fmla="*/ 1029854 h 1885950"/>
              <a:gd name="connsiteX167" fmla="*/ 273165 w 1882776"/>
              <a:gd name="connsiteY167" fmla="*/ 1033028 h 1885950"/>
              <a:gd name="connsiteX168" fmla="*/ 274101 w 1882776"/>
              <a:gd name="connsiteY168" fmla="*/ 1033428 h 1885950"/>
              <a:gd name="connsiteX169" fmla="*/ 274637 w 1882776"/>
              <a:gd name="connsiteY169" fmla="*/ 1033786 h 1885950"/>
              <a:gd name="connsiteX170" fmla="*/ 280194 w 1882776"/>
              <a:gd name="connsiteY170" fmla="*/ 1036166 h 1885950"/>
              <a:gd name="connsiteX171" fmla="*/ 284956 w 1882776"/>
              <a:gd name="connsiteY171" fmla="*/ 1037753 h 1885950"/>
              <a:gd name="connsiteX172" fmla="*/ 290512 w 1882776"/>
              <a:gd name="connsiteY172" fmla="*/ 1037753 h 1885950"/>
              <a:gd name="connsiteX173" fmla="*/ 295275 w 1882776"/>
              <a:gd name="connsiteY173" fmla="*/ 1036166 h 1885950"/>
              <a:gd name="connsiteX174" fmla="*/ 300037 w 1882776"/>
              <a:gd name="connsiteY174" fmla="*/ 1033786 h 1885950"/>
              <a:gd name="connsiteX175" fmla="*/ 304006 w 1882776"/>
              <a:gd name="connsiteY175" fmla="*/ 1030612 h 1885950"/>
              <a:gd name="connsiteX176" fmla="*/ 307181 w 1882776"/>
              <a:gd name="connsiteY176" fmla="*/ 1025851 h 1885950"/>
              <a:gd name="connsiteX177" fmla="*/ 309562 w 1882776"/>
              <a:gd name="connsiteY177" fmla="*/ 1019504 h 1885950"/>
              <a:gd name="connsiteX178" fmla="*/ 311944 w 1882776"/>
              <a:gd name="connsiteY178" fmla="*/ 1012363 h 1885950"/>
              <a:gd name="connsiteX179" fmla="*/ 313531 w 1882776"/>
              <a:gd name="connsiteY179" fmla="*/ 1004428 h 1885950"/>
              <a:gd name="connsiteX180" fmla="*/ 314325 w 1882776"/>
              <a:gd name="connsiteY180" fmla="*/ 995700 h 1885950"/>
              <a:gd name="connsiteX181" fmla="*/ 314325 w 1882776"/>
              <a:gd name="connsiteY181" fmla="*/ 316495 h 1885950"/>
              <a:gd name="connsiteX182" fmla="*/ 311292 w 1882776"/>
              <a:gd name="connsiteY182" fmla="*/ 316495 h 1885950"/>
              <a:gd name="connsiteX183" fmla="*/ 311281 w 1882776"/>
              <a:gd name="connsiteY183" fmla="*/ 313399 h 1885950"/>
              <a:gd name="connsiteX184" fmla="*/ 948931 w 1882776"/>
              <a:gd name="connsiteY184" fmla="*/ 313399 h 1885950"/>
              <a:gd name="connsiteX185" fmla="*/ 956872 w 1882776"/>
              <a:gd name="connsiteY185" fmla="*/ 311813 h 1885950"/>
              <a:gd name="connsiteX186" fmla="*/ 965607 w 1882776"/>
              <a:gd name="connsiteY186" fmla="*/ 311019 h 1885950"/>
              <a:gd name="connsiteX187" fmla="*/ 971960 w 1882776"/>
              <a:gd name="connsiteY187" fmla="*/ 308639 h 1885950"/>
              <a:gd name="connsiteX188" fmla="*/ 978312 w 1882776"/>
              <a:gd name="connsiteY188" fmla="*/ 306259 h 1885950"/>
              <a:gd name="connsiteX189" fmla="*/ 983077 w 1882776"/>
              <a:gd name="connsiteY189" fmla="*/ 303085 h 1885950"/>
              <a:gd name="connsiteX190" fmla="*/ 986253 w 1882776"/>
              <a:gd name="connsiteY190" fmla="*/ 299118 h 1885950"/>
              <a:gd name="connsiteX191" fmla="*/ 988635 w 1882776"/>
              <a:gd name="connsiteY191" fmla="*/ 294358 h 1885950"/>
              <a:gd name="connsiteX192" fmla="*/ 990224 w 1882776"/>
              <a:gd name="connsiteY192" fmla="*/ 289597 h 1885950"/>
              <a:gd name="connsiteX193" fmla="*/ 990224 w 1882776"/>
              <a:gd name="connsiteY193" fmla="*/ 284043 h 1885950"/>
              <a:gd name="connsiteX194" fmla="*/ 989123 w 1882776"/>
              <a:gd name="connsiteY194" fmla="*/ 280744 h 1885950"/>
              <a:gd name="connsiteX195" fmla="*/ 990224 w 1882776"/>
              <a:gd name="connsiteY195" fmla="*/ 277442 h 1885950"/>
              <a:gd name="connsiteX196" fmla="*/ 990224 w 1882776"/>
              <a:gd name="connsiteY196" fmla="*/ 272679 h 1885950"/>
              <a:gd name="connsiteX197" fmla="*/ 988636 w 1882776"/>
              <a:gd name="connsiteY197" fmla="*/ 267123 h 1885950"/>
              <a:gd name="connsiteX198" fmla="*/ 986254 w 1882776"/>
              <a:gd name="connsiteY198" fmla="*/ 262360 h 1885950"/>
              <a:gd name="connsiteX199" fmla="*/ 983077 w 1882776"/>
              <a:gd name="connsiteY199" fmla="*/ 256010 h 1885950"/>
              <a:gd name="connsiteX200" fmla="*/ 978313 w 1882776"/>
              <a:gd name="connsiteY200" fmla="*/ 251248 h 1885950"/>
              <a:gd name="connsiteX201" fmla="*/ 971960 w 1882776"/>
              <a:gd name="connsiteY201" fmla="*/ 245692 h 1885950"/>
              <a:gd name="connsiteX202" fmla="*/ 965608 w 1882776"/>
              <a:gd name="connsiteY202" fmla="*/ 240929 h 1885950"/>
              <a:gd name="connsiteX203" fmla="*/ 958461 w 1882776"/>
              <a:gd name="connsiteY203" fmla="*/ 236167 h 1885950"/>
              <a:gd name="connsiteX204" fmla="*/ 947344 w 1882776"/>
              <a:gd name="connsiteY204" fmla="*/ 229817 h 1885950"/>
              <a:gd name="connsiteX205" fmla="*/ 937815 w 1882776"/>
              <a:gd name="connsiteY205" fmla="*/ 222673 h 1885950"/>
              <a:gd name="connsiteX206" fmla="*/ 925903 w 1882776"/>
              <a:gd name="connsiteY206" fmla="*/ 212354 h 1885950"/>
              <a:gd name="connsiteX207" fmla="*/ 920345 w 1882776"/>
              <a:gd name="connsiteY207" fmla="*/ 205210 h 1885950"/>
              <a:gd name="connsiteX208" fmla="*/ 913992 w 1882776"/>
              <a:gd name="connsiteY208" fmla="*/ 198067 h 1885950"/>
              <a:gd name="connsiteX209" fmla="*/ 908434 w 1882776"/>
              <a:gd name="connsiteY209" fmla="*/ 189335 h 1885950"/>
              <a:gd name="connsiteX210" fmla="*/ 903669 w 1882776"/>
              <a:gd name="connsiteY210" fmla="*/ 180604 h 1885950"/>
              <a:gd name="connsiteX211" fmla="*/ 899699 w 1882776"/>
              <a:gd name="connsiteY211" fmla="*/ 169492 h 1885950"/>
              <a:gd name="connsiteX212" fmla="*/ 896522 w 1882776"/>
              <a:gd name="connsiteY212" fmla="*/ 159173 h 1885950"/>
              <a:gd name="connsiteX213" fmla="*/ 894140 w 1882776"/>
              <a:gd name="connsiteY213" fmla="*/ 147267 h 1885950"/>
              <a:gd name="connsiteX214" fmla="*/ 894140 w 1882776"/>
              <a:gd name="connsiteY214" fmla="*/ 145970 h 1885950"/>
              <a:gd name="connsiteX215" fmla="*/ 894933 w 1882776"/>
              <a:gd name="connsiteY215" fmla="*/ 130914 h 1885950"/>
              <a:gd name="connsiteX216" fmla="*/ 897316 w 1882776"/>
              <a:gd name="connsiteY216" fmla="*/ 116632 h 1885950"/>
              <a:gd name="connsiteX217" fmla="*/ 902080 w 1882776"/>
              <a:gd name="connsiteY217" fmla="*/ 102351 h 1885950"/>
              <a:gd name="connsiteX218" fmla="*/ 908433 w 1882776"/>
              <a:gd name="connsiteY218" fmla="*/ 88863 h 1885950"/>
              <a:gd name="connsiteX219" fmla="*/ 915580 w 1882776"/>
              <a:gd name="connsiteY219" fmla="*/ 76168 h 1885950"/>
              <a:gd name="connsiteX220" fmla="*/ 925109 w 1882776"/>
              <a:gd name="connsiteY220" fmla="*/ 64267 h 1885950"/>
              <a:gd name="connsiteX221" fmla="*/ 935432 w 1882776"/>
              <a:gd name="connsiteY221" fmla="*/ 52366 h 1885950"/>
              <a:gd name="connsiteX222" fmla="*/ 947343 w 1882776"/>
              <a:gd name="connsiteY222" fmla="*/ 42845 h 1885950"/>
              <a:gd name="connsiteX223" fmla="*/ 960842 w 1882776"/>
              <a:gd name="connsiteY223" fmla="*/ 33324 h 1885950"/>
              <a:gd name="connsiteX224" fmla="*/ 973548 w 1882776"/>
              <a:gd name="connsiteY224" fmla="*/ 25389 h 1885950"/>
              <a:gd name="connsiteX225" fmla="*/ 988635 w 1882776"/>
              <a:gd name="connsiteY225" fmla="*/ 16662 h 1885950"/>
              <a:gd name="connsiteX226" fmla="*/ 1005311 w 1882776"/>
              <a:gd name="connsiteY226" fmla="*/ 11108 h 1885950"/>
              <a:gd name="connsiteX227" fmla="*/ 1021987 w 1882776"/>
              <a:gd name="connsiteY227" fmla="*/ 6347 h 1885950"/>
              <a:gd name="connsiteX228" fmla="*/ 1038663 w 1882776"/>
              <a:gd name="connsiteY228" fmla="*/ 2380 h 1885950"/>
              <a:gd name="connsiteX229" fmla="*/ 1057721 w 1882776"/>
              <a:gd name="connsiteY229" fmla="*/ 0 h 1885950"/>
              <a:gd name="connsiteX230" fmla="*/ 1075985 w 1882776"/>
              <a:gd name="connsiteY230" fmla="*/ 0 h 1885950"/>
              <a:gd name="connsiteX231" fmla="*/ 1094249 w 1882776"/>
              <a:gd name="connsiteY231" fmla="*/ 0 h 1885950"/>
              <a:gd name="connsiteX232" fmla="*/ 1112513 w 1882776"/>
              <a:gd name="connsiteY232" fmla="*/ 2380 h 1885950"/>
              <a:gd name="connsiteX233" fmla="*/ 1129982 w 1882776"/>
              <a:gd name="connsiteY233" fmla="*/ 6347 h 1885950"/>
              <a:gd name="connsiteX234" fmla="*/ 1146658 w 1882776"/>
              <a:gd name="connsiteY234" fmla="*/ 11108 h 1885950"/>
              <a:gd name="connsiteX235" fmla="*/ 1162540 w 1882776"/>
              <a:gd name="connsiteY235" fmla="*/ 16662 h 1885950"/>
              <a:gd name="connsiteX236" fmla="*/ 1177628 w 1882776"/>
              <a:gd name="connsiteY236" fmla="*/ 25389 h 1885950"/>
              <a:gd name="connsiteX237" fmla="*/ 1191921 w 1882776"/>
              <a:gd name="connsiteY237" fmla="*/ 33324 h 1885950"/>
              <a:gd name="connsiteX238" fmla="*/ 1204626 w 1882776"/>
              <a:gd name="connsiteY238" fmla="*/ 42845 h 1885950"/>
              <a:gd name="connsiteX239" fmla="*/ 1216538 w 1882776"/>
              <a:gd name="connsiteY239" fmla="*/ 52366 h 1885950"/>
              <a:gd name="connsiteX240" fmla="*/ 1227655 w 1882776"/>
              <a:gd name="connsiteY240" fmla="*/ 64267 h 1885950"/>
              <a:gd name="connsiteX241" fmla="*/ 1235596 w 1882776"/>
              <a:gd name="connsiteY241" fmla="*/ 76168 h 1885950"/>
              <a:gd name="connsiteX242" fmla="*/ 1244331 w 1882776"/>
              <a:gd name="connsiteY242" fmla="*/ 88863 h 1885950"/>
              <a:gd name="connsiteX243" fmla="*/ 1249889 w 1882776"/>
              <a:gd name="connsiteY243" fmla="*/ 102351 h 1885950"/>
              <a:gd name="connsiteX244" fmla="*/ 1254654 w 1882776"/>
              <a:gd name="connsiteY244" fmla="*/ 116632 h 1885950"/>
              <a:gd name="connsiteX245" fmla="*/ 1257036 w 1882776"/>
              <a:gd name="connsiteY245" fmla="*/ 130914 h 1885950"/>
              <a:gd name="connsiteX246" fmla="*/ 1257946 w 1882776"/>
              <a:gd name="connsiteY246" fmla="*/ 139545 h 1885950"/>
              <a:gd name="connsiteX247" fmla="*/ 1257036 w 1882776"/>
              <a:gd name="connsiteY247" fmla="*/ 147267 h 1885950"/>
              <a:gd name="connsiteX248" fmla="*/ 1254654 w 1882776"/>
              <a:gd name="connsiteY248" fmla="*/ 159173 h 1885950"/>
              <a:gd name="connsiteX249" fmla="*/ 1252272 w 1882776"/>
              <a:gd name="connsiteY249" fmla="*/ 169492 h 1885950"/>
              <a:gd name="connsiteX250" fmla="*/ 1247507 w 1882776"/>
              <a:gd name="connsiteY250" fmla="*/ 180604 h 1885950"/>
              <a:gd name="connsiteX251" fmla="*/ 1242743 w 1882776"/>
              <a:gd name="connsiteY251" fmla="*/ 189335 h 1885950"/>
              <a:gd name="connsiteX252" fmla="*/ 1237978 w 1882776"/>
              <a:gd name="connsiteY252" fmla="*/ 198067 h 1885950"/>
              <a:gd name="connsiteX253" fmla="*/ 1232420 w 1882776"/>
              <a:gd name="connsiteY253" fmla="*/ 205210 h 1885950"/>
              <a:gd name="connsiteX254" fmla="*/ 1226067 w 1882776"/>
              <a:gd name="connsiteY254" fmla="*/ 212354 h 1885950"/>
              <a:gd name="connsiteX255" fmla="*/ 1214156 w 1882776"/>
              <a:gd name="connsiteY255" fmla="*/ 222673 h 1885950"/>
              <a:gd name="connsiteX256" fmla="*/ 1203833 w 1882776"/>
              <a:gd name="connsiteY256" fmla="*/ 229817 h 1885950"/>
              <a:gd name="connsiteX257" fmla="*/ 1194304 w 1882776"/>
              <a:gd name="connsiteY257" fmla="*/ 236167 h 1885950"/>
              <a:gd name="connsiteX258" fmla="*/ 1186363 w 1882776"/>
              <a:gd name="connsiteY258" fmla="*/ 240929 h 1885950"/>
              <a:gd name="connsiteX259" fmla="*/ 1179216 w 1882776"/>
              <a:gd name="connsiteY259" fmla="*/ 245692 h 1885950"/>
              <a:gd name="connsiteX260" fmla="*/ 1172864 w 1882776"/>
              <a:gd name="connsiteY260" fmla="*/ 251248 h 1885950"/>
              <a:gd name="connsiteX261" fmla="*/ 1168099 w 1882776"/>
              <a:gd name="connsiteY261" fmla="*/ 256010 h 1885950"/>
              <a:gd name="connsiteX262" fmla="*/ 1164923 w 1882776"/>
              <a:gd name="connsiteY262" fmla="*/ 262360 h 1885950"/>
              <a:gd name="connsiteX263" fmla="*/ 1162540 w 1882776"/>
              <a:gd name="connsiteY263" fmla="*/ 267123 h 1885950"/>
              <a:gd name="connsiteX264" fmla="*/ 1162540 w 1882776"/>
              <a:gd name="connsiteY264" fmla="*/ 272679 h 1885950"/>
              <a:gd name="connsiteX265" fmla="*/ 1162540 w 1882776"/>
              <a:gd name="connsiteY265" fmla="*/ 277442 h 1885950"/>
              <a:gd name="connsiteX266" fmla="*/ 1162753 w 1882776"/>
              <a:gd name="connsiteY266" fmla="*/ 278716 h 1885950"/>
              <a:gd name="connsiteX267" fmla="*/ 1162540 w 1882776"/>
              <a:gd name="connsiteY267" fmla="*/ 279283 h 1885950"/>
              <a:gd name="connsiteX268" fmla="*/ 1162540 w 1882776"/>
              <a:gd name="connsiteY268" fmla="*/ 284043 h 1885950"/>
              <a:gd name="connsiteX269" fmla="*/ 1162540 w 1882776"/>
              <a:gd name="connsiteY269" fmla="*/ 289597 h 1885950"/>
              <a:gd name="connsiteX270" fmla="*/ 1163334 w 1882776"/>
              <a:gd name="connsiteY270" fmla="*/ 294358 h 1885950"/>
              <a:gd name="connsiteX271" fmla="*/ 1165716 w 1882776"/>
              <a:gd name="connsiteY271" fmla="*/ 299118 h 1885950"/>
              <a:gd name="connsiteX272" fmla="*/ 1169687 w 1882776"/>
              <a:gd name="connsiteY272" fmla="*/ 303085 h 1885950"/>
              <a:gd name="connsiteX273" fmla="*/ 1174451 w 1882776"/>
              <a:gd name="connsiteY273" fmla="*/ 306259 h 1885950"/>
              <a:gd name="connsiteX274" fmla="*/ 1179216 w 1882776"/>
              <a:gd name="connsiteY274" fmla="*/ 308639 h 1885950"/>
              <a:gd name="connsiteX275" fmla="*/ 1186362 w 1882776"/>
              <a:gd name="connsiteY275" fmla="*/ 311019 h 1885950"/>
              <a:gd name="connsiteX276" fmla="*/ 1194303 w 1882776"/>
              <a:gd name="connsiteY276" fmla="*/ 311813 h 1885950"/>
              <a:gd name="connsiteX277" fmla="*/ 1203832 w 1882776"/>
              <a:gd name="connsiteY277" fmla="*/ 313399 h 1885950"/>
              <a:gd name="connsiteX278" fmla="*/ 1882776 w 1882776"/>
              <a:gd name="connsiteY278" fmla="*/ 313399 h 188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882776" h="1885950">
                <a:moveTo>
                  <a:pt x="1882776" y="313399"/>
                </a:moveTo>
                <a:lnTo>
                  <a:pt x="1882775" y="1885950"/>
                </a:lnTo>
                <a:lnTo>
                  <a:pt x="1172069" y="1885950"/>
                </a:lnTo>
                <a:lnTo>
                  <a:pt x="1165716" y="1880396"/>
                </a:lnTo>
                <a:lnTo>
                  <a:pt x="1162540" y="1874049"/>
                </a:lnTo>
                <a:lnTo>
                  <a:pt x="1161318" y="1868553"/>
                </a:lnTo>
                <a:lnTo>
                  <a:pt x="1162440" y="1865562"/>
                </a:lnTo>
                <a:lnTo>
                  <a:pt x="1165617" y="1860802"/>
                </a:lnTo>
                <a:lnTo>
                  <a:pt x="1170381" y="1855248"/>
                </a:lnTo>
                <a:lnTo>
                  <a:pt x="1176734" y="1850487"/>
                </a:lnTo>
                <a:lnTo>
                  <a:pt x="1183880" y="1845727"/>
                </a:lnTo>
                <a:lnTo>
                  <a:pt x="1191821" y="1840966"/>
                </a:lnTo>
                <a:lnTo>
                  <a:pt x="1201350" y="1834619"/>
                </a:lnTo>
                <a:lnTo>
                  <a:pt x="1211673" y="1827478"/>
                </a:lnTo>
                <a:lnTo>
                  <a:pt x="1223585" y="1817164"/>
                </a:lnTo>
                <a:lnTo>
                  <a:pt x="1229937" y="1810023"/>
                </a:lnTo>
                <a:lnTo>
                  <a:pt x="1235496" y="1802883"/>
                </a:lnTo>
                <a:lnTo>
                  <a:pt x="1240261" y="1794155"/>
                </a:lnTo>
                <a:lnTo>
                  <a:pt x="1245025" y="1784634"/>
                </a:lnTo>
                <a:lnTo>
                  <a:pt x="1249790" y="1774320"/>
                </a:lnTo>
                <a:lnTo>
                  <a:pt x="1252172" y="1764005"/>
                </a:lnTo>
                <a:lnTo>
                  <a:pt x="1254482" y="1752466"/>
                </a:lnTo>
                <a:lnTo>
                  <a:pt x="1254654" y="1751863"/>
                </a:lnTo>
                <a:lnTo>
                  <a:pt x="1257036" y="1739962"/>
                </a:lnTo>
                <a:lnTo>
                  <a:pt x="1257036" y="1727267"/>
                </a:lnTo>
                <a:lnTo>
                  <a:pt x="1257036" y="1711399"/>
                </a:lnTo>
                <a:lnTo>
                  <a:pt x="1253860" y="1697117"/>
                </a:lnTo>
                <a:lnTo>
                  <a:pt x="1249889" y="1682836"/>
                </a:lnTo>
                <a:lnTo>
                  <a:pt x="1242743" y="1670141"/>
                </a:lnTo>
                <a:lnTo>
                  <a:pt x="1235596" y="1657446"/>
                </a:lnTo>
                <a:lnTo>
                  <a:pt x="1226067" y="1645545"/>
                </a:lnTo>
                <a:lnTo>
                  <a:pt x="1215744" y="1634437"/>
                </a:lnTo>
                <a:lnTo>
                  <a:pt x="1203832" y="1624123"/>
                </a:lnTo>
                <a:lnTo>
                  <a:pt x="1191921" y="1614602"/>
                </a:lnTo>
                <a:lnTo>
                  <a:pt x="1177628" y="1605874"/>
                </a:lnTo>
                <a:lnTo>
                  <a:pt x="1162540" y="1598734"/>
                </a:lnTo>
                <a:lnTo>
                  <a:pt x="1146658" y="1591593"/>
                </a:lnTo>
                <a:lnTo>
                  <a:pt x="1129982" y="1586832"/>
                </a:lnTo>
                <a:lnTo>
                  <a:pt x="1112513" y="1583659"/>
                </a:lnTo>
                <a:lnTo>
                  <a:pt x="1094249" y="1581278"/>
                </a:lnTo>
                <a:lnTo>
                  <a:pt x="1075985" y="1581278"/>
                </a:lnTo>
                <a:lnTo>
                  <a:pt x="1056927" y="1581278"/>
                </a:lnTo>
                <a:lnTo>
                  <a:pt x="1038663" y="1583659"/>
                </a:lnTo>
                <a:lnTo>
                  <a:pt x="1021193" y="1586832"/>
                </a:lnTo>
                <a:lnTo>
                  <a:pt x="1004517" y="1591593"/>
                </a:lnTo>
                <a:lnTo>
                  <a:pt x="988635" y="1598734"/>
                </a:lnTo>
                <a:lnTo>
                  <a:pt x="973548" y="1605874"/>
                </a:lnTo>
                <a:lnTo>
                  <a:pt x="959254" y="1614602"/>
                </a:lnTo>
                <a:lnTo>
                  <a:pt x="946549" y="1624123"/>
                </a:lnTo>
                <a:lnTo>
                  <a:pt x="935432" y="1634437"/>
                </a:lnTo>
                <a:lnTo>
                  <a:pt x="925109" y="1645545"/>
                </a:lnTo>
                <a:lnTo>
                  <a:pt x="915580" y="1657446"/>
                </a:lnTo>
                <a:lnTo>
                  <a:pt x="908433" y="1670141"/>
                </a:lnTo>
                <a:lnTo>
                  <a:pt x="901286" y="1682836"/>
                </a:lnTo>
                <a:lnTo>
                  <a:pt x="897316" y="1697117"/>
                </a:lnTo>
                <a:lnTo>
                  <a:pt x="894139" y="1711399"/>
                </a:lnTo>
                <a:lnTo>
                  <a:pt x="894139" y="1713424"/>
                </a:lnTo>
                <a:lnTo>
                  <a:pt x="892451" y="1723541"/>
                </a:lnTo>
                <a:lnTo>
                  <a:pt x="891657" y="1738616"/>
                </a:lnTo>
                <a:lnTo>
                  <a:pt x="891657" y="1752104"/>
                </a:lnTo>
                <a:lnTo>
                  <a:pt x="894040" y="1764005"/>
                </a:lnTo>
                <a:lnTo>
                  <a:pt x="897216" y="1774320"/>
                </a:lnTo>
                <a:lnTo>
                  <a:pt x="901186" y="1784634"/>
                </a:lnTo>
                <a:lnTo>
                  <a:pt x="905951" y="1794155"/>
                </a:lnTo>
                <a:lnTo>
                  <a:pt x="911509" y="1802883"/>
                </a:lnTo>
                <a:lnTo>
                  <a:pt x="917862" y="1810023"/>
                </a:lnTo>
                <a:lnTo>
                  <a:pt x="923421" y="1817164"/>
                </a:lnTo>
                <a:lnTo>
                  <a:pt x="935332" y="1827478"/>
                </a:lnTo>
                <a:lnTo>
                  <a:pt x="944861" y="1834619"/>
                </a:lnTo>
                <a:lnTo>
                  <a:pt x="955978" y="1840966"/>
                </a:lnTo>
                <a:lnTo>
                  <a:pt x="963125" y="1845727"/>
                </a:lnTo>
                <a:lnTo>
                  <a:pt x="969478" y="1850487"/>
                </a:lnTo>
                <a:lnTo>
                  <a:pt x="975830" y="1855248"/>
                </a:lnTo>
                <a:lnTo>
                  <a:pt x="980595" y="1860802"/>
                </a:lnTo>
                <a:lnTo>
                  <a:pt x="983771" y="1865562"/>
                </a:lnTo>
                <a:lnTo>
                  <a:pt x="986153" y="1871910"/>
                </a:lnTo>
                <a:lnTo>
                  <a:pt x="987575" y="1876168"/>
                </a:lnTo>
                <a:lnTo>
                  <a:pt x="985459" y="1880396"/>
                </a:lnTo>
                <a:lnTo>
                  <a:pt x="979106" y="1885950"/>
                </a:lnTo>
                <a:lnTo>
                  <a:pt x="314325" y="1885950"/>
                </a:lnTo>
                <a:lnTo>
                  <a:pt x="314325" y="1251195"/>
                </a:lnTo>
                <a:lnTo>
                  <a:pt x="313663" y="1243256"/>
                </a:lnTo>
                <a:lnTo>
                  <a:pt x="313663" y="1240903"/>
                </a:lnTo>
                <a:lnTo>
                  <a:pt x="312075" y="1232175"/>
                </a:lnTo>
                <a:lnTo>
                  <a:pt x="309693" y="1225035"/>
                </a:lnTo>
                <a:lnTo>
                  <a:pt x="306517" y="1219481"/>
                </a:lnTo>
                <a:lnTo>
                  <a:pt x="304630" y="1217218"/>
                </a:lnTo>
                <a:lnTo>
                  <a:pt x="304006" y="1216283"/>
                </a:lnTo>
                <a:lnTo>
                  <a:pt x="303537" y="1215907"/>
                </a:lnTo>
                <a:lnTo>
                  <a:pt x="302546" y="1214720"/>
                </a:lnTo>
                <a:lnTo>
                  <a:pt x="299370" y="1210753"/>
                </a:lnTo>
                <a:lnTo>
                  <a:pt x="294605" y="1208373"/>
                </a:lnTo>
                <a:lnTo>
                  <a:pt x="289841" y="1207579"/>
                </a:lnTo>
                <a:lnTo>
                  <a:pt x="285076" y="1207579"/>
                </a:lnTo>
                <a:lnTo>
                  <a:pt x="278724" y="1208373"/>
                </a:lnTo>
                <a:lnTo>
                  <a:pt x="273959" y="1210753"/>
                </a:lnTo>
                <a:lnTo>
                  <a:pt x="268400" y="1214720"/>
                </a:lnTo>
                <a:lnTo>
                  <a:pt x="263636" y="1219481"/>
                </a:lnTo>
                <a:lnTo>
                  <a:pt x="258077" y="1225035"/>
                </a:lnTo>
                <a:lnTo>
                  <a:pt x="253313" y="1232175"/>
                </a:lnTo>
                <a:lnTo>
                  <a:pt x="249342" y="1240903"/>
                </a:lnTo>
                <a:lnTo>
                  <a:pt x="243784" y="1250424"/>
                </a:lnTo>
                <a:lnTo>
                  <a:pt x="235049" y="1260738"/>
                </a:lnTo>
                <a:lnTo>
                  <a:pt x="224726" y="1272640"/>
                </a:lnTo>
                <a:lnTo>
                  <a:pt x="217579" y="1278987"/>
                </a:lnTo>
                <a:lnTo>
                  <a:pt x="210432" y="1284541"/>
                </a:lnTo>
                <a:lnTo>
                  <a:pt x="201697" y="1289301"/>
                </a:lnTo>
                <a:lnTo>
                  <a:pt x="192168" y="1294062"/>
                </a:lnTo>
                <a:lnTo>
                  <a:pt x="182639" y="1298822"/>
                </a:lnTo>
                <a:lnTo>
                  <a:pt x="170728" y="1301203"/>
                </a:lnTo>
                <a:lnTo>
                  <a:pt x="158817" y="1303583"/>
                </a:lnTo>
                <a:lnTo>
                  <a:pt x="146111" y="1305170"/>
                </a:lnTo>
                <a:lnTo>
                  <a:pt x="131024" y="1303583"/>
                </a:lnTo>
                <a:lnTo>
                  <a:pt x="116730" y="1300409"/>
                </a:lnTo>
                <a:lnTo>
                  <a:pt x="102437" y="1296442"/>
                </a:lnTo>
                <a:lnTo>
                  <a:pt x="88937" y="1289301"/>
                </a:lnTo>
                <a:lnTo>
                  <a:pt x="76232" y="1282161"/>
                </a:lnTo>
                <a:lnTo>
                  <a:pt x="64321" y="1272640"/>
                </a:lnTo>
                <a:lnTo>
                  <a:pt x="53203" y="1262325"/>
                </a:lnTo>
                <a:lnTo>
                  <a:pt x="47645" y="1256344"/>
                </a:lnTo>
                <a:lnTo>
                  <a:pt x="44450" y="1251989"/>
                </a:lnTo>
                <a:lnTo>
                  <a:pt x="34925" y="1239293"/>
                </a:lnTo>
                <a:lnTo>
                  <a:pt x="26194" y="1225011"/>
                </a:lnTo>
                <a:lnTo>
                  <a:pt x="21815" y="1216255"/>
                </a:lnTo>
                <a:lnTo>
                  <a:pt x="18264" y="1208373"/>
                </a:lnTo>
                <a:lnTo>
                  <a:pt x="15290" y="1202098"/>
                </a:lnTo>
                <a:lnTo>
                  <a:pt x="11906" y="1194066"/>
                </a:lnTo>
                <a:lnTo>
                  <a:pt x="7144" y="1177403"/>
                </a:lnTo>
                <a:lnTo>
                  <a:pt x="3969" y="1159947"/>
                </a:lnTo>
                <a:lnTo>
                  <a:pt x="1587" y="1141697"/>
                </a:lnTo>
                <a:lnTo>
                  <a:pt x="0" y="1122654"/>
                </a:lnTo>
                <a:lnTo>
                  <a:pt x="1587" y="1105198"/>
                </a:lnTo>
                <a:lnTo>
                  <a:pt x="3969" y="1086155"/>
                </a:lnTo>
                <a:lnTo>
                  <a:pt x="7144" y="1069492"/>
                </a:lnTo>
                <a:lnTo>
                  <a:pt x="11906" y="1052829"/>
                </a:lnTo>
                <a:lnTo>
                  <a:pt x="18256" y="1036166"/>
                </a:lnTo>
                <a:lnTo>
                  <a:pt x="26194" y="1021091"/>
                </a:lnTo>
                <a:lnTo>
                  <a:pt x="34925" y="1007602"/>
                </a:lnTo>
                <a:lnTo>
                  <a:pt x="44450" y="994906"/>
                </a:lnTo>
                <a:lnTo>
                  <a:pt x="53181" y="983004"/>
                </a:lnTo>
                <a:lnTo>
                  <a:pt x="65087" y="972689"/>
                </a:lnTo>
                <a:lnTo>
                  <a:pt x="76994" y="963168"/>
                </a:lnTo>
                <a:lnTo>
                  <a:pt x="90487" y="956027"/>
                </a:lnTo>
                <a:lnTo>
                  <a:pt x="103187" y="949679"/>
                </a:lnTo>
                <a:lnTo>
                  <a:pt x="117475" y="944918"/>
                </a:lnTo>
                <a:lnTo>
                  <a:pt x="131762" y="942538"/>
                </a:lnTo>
                <a:lnTo>
                  <a:pt x="147637" y="941744"/>
                </a:lnTo>
                <a:lnTo>
                  <a:pt x="160337" y="941744"/>
                </a:lnTo>
                <a:lnTo>
                  <a:pt x="172244" y="944125"/>
                </a:lnTo>
                <a:lnTo>
                  <a:pt x="182562" y="947298"/>
                </a:lnTo>
                <a:lnTo>
                  <a:pt x="193675" y="951266"/>
                </a:lnTo>
                <a:lnTo>
                  <a:pt x="201717" y="955285"/>
                </a:lnTo>
                <a:lnTo>
                  <a:pt x="206355" y="958234"/>
                </a:lnTo>
                <a:lnTo>
                  <a:pt x="211137" y="961581"/>
                </a:lnTo>
                <a:lnTo>
                  <a:pt x="218281" y="967929"/>
                </a:lnTo>
                <a:lnTo>
                  <a:pt x="225425" y="973483"/>
                </a:lnTo>
                <a:lnTo>
                  <a:pt x="236537" y="985385"/>
                </a:lnTo>
                <a:lnTo>
                  <a:pt x="243681" y="994906"/>
                </a:lnTo>
                <a:lnTo>
                  <a:pt x="249237" y="1005221"/>
                </a:lnTo>
                <a:lnTo>
                  <a:pt x="254000" y="1013949"/>
                </a:lnTo>
                <a:lnTo>
                  <a:pt x="257954" y="1018560"/>
                </a:lnTo>
                <a:lnTo>
                  <a:pt x="258077" y="1018746"/>
                </a:lnTo>
                <a:lnTo>
                  <a:pt x="262842" y="1025094"/>
                </a:lnTo>
                <a:lnTo>
                  <a:pt x="263164" y="1025369"/>
                </a:lnTo>
                <a:lnTo>
                  <a:pt x="263525" y="1025851"/>
                </a:lnTo>
                <a:lnTo>
                  <a:pt x="265139" y="1027060"/>
                </a:lnTo>
                <a:lnTo>
                  <a:pt x="268400" y="1029854"/>
                </a:lnTo>
                <a:lnTo>
                  <a:pt x="273165" y="1033028"/>
                </a:lnTo>
                <a:lnTo>
                  <a:pt x="274101" y="1033428"/>
                </a:lnTo>
                <a:lnTo>
                  <a:pt x="274637" y="1033786"/>
                </a:lnTo>
                <a:lnTo>
                  <a:pt x="280194" y="1036166"/>
                </a:lnTo>
                <a:lnTo>
                  <a:pt x="284956" y="1037753"/>
                </a:lnTo>
                <a:lnTo>
                  <a:pt x="290512" y="1037753"/>
                </a:lnTo>
                <a:lnTo>
                  <a:pt x="295275" y="1036166"/>
                </a:lnTo>
                <a:lnTo>
                  <a:pt x="300037" y="1033786"/>
                </a:lnTo>
                <a:lnTo>
                  <a:pt x="304006" y="1030612"/>
                </a:lnTo>
                <a:lnTo>
                  <a:pt x="307181" y="1025851"/>
                </a:lnTo>
                <a:lnTo>
                  <a:pt x="309562" y="1019504"/>
                </a:lnTo>
                <a:lnTo>
                  <a:pt x="311944" y="1012363"/>
                </a:lnTo>
                <a:lnTo>
                  <a:pt x="313531" y="1004428"/>
                </a:lnTo>
                <a:lnTo>
                  <a:pt x="314325" y="995700"/>
                </a:lnTo>
                <a:lnTo>
                  <a:pt x="314325" y="316495"/>
                </a:lnTo>
                <a:lnTo>
                  <a:pt x="311292" y="316495"/>
                </a:lnTo>
                <a:lnTo>
                  <a:pt x="311281" y="313399"/>
                </a:lnTo>
                <a:lnTo>
                  <a:pt x="948931" y="313399"/>
                </a:lnTo>
                <a:lnTo>
                  <a:pt x="956872" y="311813"/>
                </a:lnTo>
                <a:lnTo>
                  <a:pt x="965607" y="311019"/>
                </a:lnTo>
                <a:lnTo>
                  <a:pt x="971960" y="308639"/>
                </a:lnTo>
                <a:lnTo>
                  <a:pt x="978312" y="306259"/>
                </a:lnTo>
                <a:lnTo>
                  <a:pt x="983077" y="303085"/>
                </a:lnTo>
                <a:lnTo>
                  <a:pt x="986253" y="299118"/>
                </a:lnTo>
                <a:lnTo>
                  <a:pt x="988635" y="294358"/>
                </a:lnTo>
                <a:lnTo>
                  <a:pt x="990224" y="289597"/>
                </a:lnTo>
                <a:lnTo>
                  <a:pt x="990224" y="284043"/>
                </a:lnTo>
                <a:lnTo>
                  <a:pt x="989123" y="280744"/>
                </a:lnTo>
                <a:lnTo>
                  <a:pt x="990224" y="277442"/>
                </a:lnTo>
                <a:lnTo>
                  <a:pt x="990224" y="272679"/>
                </a:lnTo>
                <a:lnTo>
                  <a:pt x="988636" y="267123"/>
                </a:lnTo>
                <a:lnTo>
                  <a:pt x="986254" y="262360"/>
                </a:lnTo>
                <a:lnTo>
                  <a:pt x="983077" y="256010"/>
                </a:lnTo>
                <a:lnTo>
                  <a:pt x="978313" y="251248"/>
                </a:lnTo>
                <a:lnTo>
                  <a:pt x="971960" y="245692"/>
                </a:lnTo>
                <a:lnTo>
                  <a:pt x="965608" y="240929"/>
                </a:lnTo>
                <a:lnTo>
                  <a:pt x="958461" y="236167"/>
                </a:lnTo>
                <a:lnTo>
                  <a:pt x="947344" y="229817"/>
                </a:lnTo>
                <a:lnTo>
                  <a:pt x="937815" y="222673"/>
                </a:lnTo>
                <a:lnTo>
                  <a:pt x="925903" y="212354"/>
                </a:lnTo>
                <a:lnTo>
                  <a:pt x="920345" y="205210"/>
                </a:lnTo>
                <a:lnTo>
                  <a:pt x="913992" y="198067"/>
                </a:lnTo>
                <a:lnTo>
                  <a:pt x="908434" y="189335"/>
                </a:lnTo>
                <a:lnTo>
                  <a:pt x="903669" y="180604"/>
                </a:lnTo>
                <a:lnTo>
                  <a:pt x="899699" y="169492"/>
                </a:lnTo>
                <a:lnTo>
                  <a:pt x="896522" y="159173"/>
                </a:lnTo>
                <a:lnTo>
                  <a:pt x="894140" y="147267"/>
                </a:lnTo>
                <a:lnTo>
                  <a:pt x="894140" y="145970"/>
                </a:lnTo>
                <a:lnTo>
                  <a:pt x="894933" y="130914"/>
                </a:lnTo>
                <a:lnTo>
                  <a:pt x="897316" y="116632"/>
                </a:lnTo>
                <a:lnTo>
                  <a:pt x="902080" y="102351"/>
                </a:lnTo>
                <a:lnTo>
                  <a:pt x="908433" y="88863"/>
                </a:lnTo>
                <a:lnTo>
                  <a:pt x="915580" y="76168"/>
                </a:lnTo>
                <a:lnTo>
                  <a:pt x="925109" y="64267"/>
                </a:lnTo>
                <a:lnTo>
                  <a:pt x="935432" y="52366"/>
                </a:lnTo>
                <a:lnTo>
                  <a:pt x="947343" y="42845"/>
                </a:lnTo>
                <a:lnTo>
                  <a:pt x="960842" y="33324"/>
                </a:lnTo>
                <a:lnTo>
                  <a:pt x="973548" y="25389"/>
                </a:lnTo>
                <a:lnTo>
                  <a:pt x="988635" y="16662"/>
                </a:lnTo>
                <a:lnTo>
                  <a:pt x="1005311" y="11108"/>
                </a:lnTo>
                <a:lnTo>
                  <a:pt x="1021987" y="6347"/>
                </a:lnTo>
                <a:lnTo>
                  <a:pt x="1038663" y="2380"/>
                </a:lnTo>
                <a:lnTo>
                  <a:pt x="1057721" y="0"/>
                </a:lnTo>
                <a:lnTo>
                  <a:pt x="1075985" y="0"/>
                </a:lnTo>
                <a:lnTo>
                  <a:pt x="1094249" y="0"/>
                </a:lnTo>
                <a:lnTo>
                  <a:pt x="1112513" y="2380"/>
                </a:lnTo>
                <a:lnTo>
                  <a:pt x="1129982" y="6347"/>
                </a:lnTo>
                <a:lnTo>
                  <a:pt x="1146658" y="11108"/>
                </a:lnTo>
                <a:lnTo>
                  <a:pt x="1162540" y="16662"/>
                </a:lnTo>
                <a:lnTo>
                  <a:pt x="1177628" y="25389"/>
                </a:lnTo>
                <a:lnTo>
                  <a:pt x="1191921" y="33324"/>
                </a:lnTo>
                <a:lnTo>
                  <a:pt x="1204626" y="42845"/>
                </a:lnTo>
                <a:lnTo>
                  <a:pt x="1216538" y="52366"/>
                </a:lnTo>
                <a:lnTo>
                  <a:pt x="1227655" y="64267"/>
                </a:lnTo>
                <a:lnTo>
                  <a:pt x="1235596" y="76168"/>
                </a:lnTo>
                <a:lnTo>
                  <a:pt x="1244331" y="88863"/>
                </a:lnTo>
                <a:lnTo>
                  <a:pt x="1249889" y="102351"/>
                </a:lnTo>
                <a:lnTo>
                  <a:pt x="1254654" y="116632"/>
                </a:lnTo>
                <a:lnTo>
                  <a:pt x="1257036" y="130914"/>
                </a:lnTo>
                <a:lnTo>
                  <a:pt x="1257946" y="139545"/>
                </a:lnTo>
                <a:lnTo>
                  <a:pt x="1257036" y="147267"/>
                </a:lnTo>
                <a:lnTo>
                  <a:pt x="1254654" y="159173"/>
                </a:lnTo>
                <a:lnTo>
                  <a:pt x="1252272" y="169492"/>
                </a:lnTo>
                <a:lnTo>
                  <a:pt x="1247507" y="180604"/>
                </a:lnTo>
                <a:lnTo>
                  <a:pt x="1242743" y="189335"/>
                </a:lnTo>
                <a:lnTo>
                  <a:pt x="1237978" y="198067"/>
                </a:lnTo>
                <a:lnTo>
                  <a:pt x="1232420" y="205210"/>
                </a:lnTo>
                <a:lnTo>
                  <a:pt x="1226067" y="212354"/>
                </a:lnTo>
                <a:lnTo>
                  <a:pt x="1214156" y="222673"/>
                </a:lnTo>
                <a:lnTo>
                  <a:pt x="1203833" y="229817"/>
                </a:lnTo>
                <a:lnTo>
                  <a:pt x="1194304" y="236167"/>
                </a:lnTo>
                <a:lnTo>
                  <a:pt x="1186363" y="240929"/>
                </a:lnTo>
                <a:lnTo>
                  <a:pt x="1179216" y="245692"/>
                </a:lnTo>
                <a:lnTo>
                  <a:pt x="1172864" y="251248"/>
                </a:lnTo>
                <a:lnTo>
                  <a:pt x="1168099" y="256010"/>
                </a:lnTo>
                <a:lnTo>
                  <a:pt x="1164923" y="262360"/>
                </a:lnTo>
                <a:lnTo>
                  <a:pt x="1162540" y="267123"/>
                </a:lnTo>
                <a:lnTo>
                  <a:pt x="1162540" y="272679"/>
                </a:lnTo>
                <a:lnTo>
                  <a:pt x="1162540" y="277442"/>
                </a:lnTo>
                <a:lnTo>
                  <a:pt x="1162753" y="278716"/>
                </a:lnTo>
                <a:lnTo>
                  <a:pt x="1162540" y="279283"/>
                </a:lnTo>
                <a:lnTo>
                  <a:pt x="1162540" y="284043"/>
                </a:lnTo>
                <a:lnTo>
                  <a:pt x="1162540" y="289597"/>
                </a:lnTo>
                <a:lnTo>
                  <a:pt x="1163334" y="294358"/>
                </a:lnTo>
                <a:lnTo>
                  <a:pt x="1165716" y="299118"/>
                </a:lnTo>
                <a:lnTo>
                  <a:pt x="1169687" y="303085"/>
                </a:lnTo>
                <a:lnTo>
                  <a:pt x="1174451" y="306259"/>
                </a:lnTo>
                <a:lnTo>
                  <a:pt x="1179216" y="308639"/>
                </a:lnTo>
                <a:lnTo>
                  <a:pt x="1186362" y="311019"/>
                </a:lnTo>
                <a:lnTo>
                  <a:pt x="1194303" y="311813"/>
                </a:lnTo>
                <a:lnTo>
                  <a:pt x="1203832" y="313399"/>
                </a:lnTo>
                <a:lnTo>
                  <a:pt x="1882776" y="313399"/>
                </a:lnTo>
                <a:close/>
              </a:path>
            </a:pathLst>
          </a:custGeom>
          <a:ln>
            <a:solidFill>
              <a:schemeClr val="tx1">
                <a:lumMod val="50000"/>
                <a:lumOff val="50000"/>
              </a:schemeClr>
            </a:solidFill>
          </a:ln>
        </p:spPr>
      </p:pic>
      <p:pic>
        <p:nvPicPr>
          <p:cNvPr id="6" name="Picture 5">
            <a:extLst>
              <a:ext uri="{FF2B5EF4-FFF2-40B4-BE49-F238E27FC236}">
                <a16:creationId xmlns:a16="http://schemas.microsoft.com/office/drawing/2014/main" id="{6F8D05FE-7F1A-4BB5-A6D5-F107B0FCDD8F}"/>
              </a:ext>
            </a:extLst>
          </p:cNvPr>
          <p:cNvPicPr>
            <a:picLocks noChangeAspect="1"/>
          </p:cNvPicPr>
          <p:nvPr/>
        </p:nvPicPr>
        <p:blipFill rotWithShape="1">
          <a:blip r:embed="rId2"/>
          <a:srcRect l="61224" t="45286" r="3907" b="25101"/>
          <a:stretch/>
        </p:blipFill>
        <p:spPr>
          <a:xfrm rot="884635">
            <a:off x="306193" y="2954676"/>
            <a:ext cx="1746556" cy="2323866"/>
          </a:xfrm>
          <a:custGeom>
            <a:avLst/>
            <a:gdLst>
              <a:gd name="connsiteX0" fmla="*/ 1880293 w 1880293"/>
              <a:gd name="connsiteY0" fmla="*/ 313400 h 1885950"/>
              <a:gd name="connsiteX1" fmla="*/ 1880293 w 1880293"/>
              <a:gd name="connsiteY1" fmla="*/ 1885950 h 1885950"/>
              <a:gd name="connsiteX2" fmla="*/ 1169587 w 1880293"/>
              <a:gd name="connsiteY2" fmla="*/ 1885950 h 1885950"/>
              <a:gd name="connsiteX3" fmla="*/ 1163234 w 1880293"/>
              <a:gd name="connsiteY3" fmla="*/ 1880396 h 1885950"/>
              <a:gd name="connsiteX4" fmla="*/ 1160891 w 1880293"/>
              <a:gd name="connsiteY4" fmla="*/ 1875713 h 1885950"/>
              <a:gd name="connsiteX5" fmla="*/ 1160891 w 1880293"/>
              <a:gd name="connsiteY5" fmla="*/ 1871451 h 1885950"/>
              <a:gd name="connsiteX6" fmla="*/ 1162479 w 1880293"/>
              <a:gd name="connsiteY6" fmla="*/ 1866687 h 1885950"/>
              <a:gd name="connsiteX7" fmla="*/ 1164862 w 1880293"/>
              <a:gd name="connsiteY7" fmla="*/ 1861128 h 1885950"/>
              <a:gd name="connsiteX8" fmla="*/ 1168038 w 1880293"/>
              <a:gd name="connsiteY8" fmla="*/ 1856364 h 1885950"/>
              <a:gd name="connsiteX9" fmla="*/ 1172803 w 1880293"/>
              <a:gd name="connsiteY9" fmla="*/ 1850011 h 1885950"/>
              <a:gd name="connsiteX10" fmla="*/ 1179156 w 1880293"/>
              <a:gd name="connsiteY10" fmla="*/ 1845247 h 1885950"/>
              <a:gd name="connsiteX11" fmla="*/ 1186304 w 1880293"/>
              <a:gd name="connsiteY11" fmla="*/ 1840482 h 1885950"/>
              <a:gd name="connsiteX12" fmla="*/ 1194245 w 1880293"/>
              <a:gd name="connsiteY12" fmla="*/ 1835718 h 1885950"/>
              <a:gd name="connsiteX13" fmla="*/ 1203775 w 1880293"/>
              <a:gd name="connsiteY13" fmla="*/ 1830159 h 1885950"/>
              <a:gd name="connsiteX14" fmla="*/ 1214099 w 1880293"/>
              <a:gd name="connsiteY14" fmla="*/ 1823012 h 1885950"/>
              <a:gd name="connsiteX15" fmla="*/ 1226011 w 1880293"/>
              <a:gd name="connsiteY15" fmla="*/ 1811101 h 1885950"/>
              <a:gd name="connsiteX16" fmla="*/ 1232364 w 1880293"/>
              <a:gd name="connsiteY16" fmla="*/ 1804748 h 1885950"/>
              <a:gd name="connsiteX17" fmla="*/ 1237129 w 1880293"/>
              <a:gd name="connsiteY17" fmla="*/ 1796807 h 1885950"/>
              <a:gd name="connsiteX18" fmla="*/ 1242688 w 1880293"/>
              <a:gd name="connsiteY18" fmla="*/ 1788073 h 1885950"/>
              <a:gd name="connsiteX19" fmla="*/ 1247453 w 1880293"/>
              <a:gd name="connsiteY19" fmla="*/ 1779338 h 1885950"/>
              <a:gd name="connsiteX20" fmla="*/ 1251424 w 1880293"/>
              <a:gd name="connsiteY20" fmla="*/ 1769809 h 1885950"/>
              <a:gd name="connsiteX21" fmla="*/ 1254601 w 1880293"/>
              <a:gd name="connsiteY21" fmla="*/ 1758691 h 1885950"/>
              <a:gd name="connsiteX22" fmla="*/ 1256983 w 1880293"/>
              <a:gd name="connsiteY22" fmla="*/ 1745986 h 1885950"/>
              <a:gd name="connsiteX23" fmla="*/ 1256983 w 1880293"/>
              <a:gd name="connsiteY23" fmla="*/ 1732487 h 1885950"/>
              <a:gd name="connsiteX24" fmla="*/ 1256983 w 1880293"/>
              <a:gd name="connsiteY24" fmla="*/ 1718193 h 1885950"/>
              <a:gd name="connsiteX25" fmla="*/ 1253807 w 1880293"/>
              <a:gd name="connsiteY25" fmla="*/ 1703900 h 1885950"/>
              <a:gd name="connsiteX26" fmla="*/ 1249836 w 1880293"/>
              <a:gd name="connsiteY26" fmla="*/ 1689606 h 1885950"/>
              <a:gd name="connsiteX27" fmla="*/ 1248605 w 1880293"/>
              <a:gd name="connsiteY27" fmla="*/ 1687144 h 1885950"/>
              <a:gd name="connsiteX28" fmla="*/ 1247407 w 1880293"/>
              <a:gd name="connsiteY28" fmla="*/ 1682836 h 1885950"/>
              <a:gd name="connsiteX29" fmla="*/ 1240261 w 1880293"/>
              <a:gd name="connsiteY29" fmla="*/ 1670141 h 1885950"/>
              <a:gd name="connsiteX30" fmla="*/ 1233114 w 1880293"/>
              <a:gd name="connsiteY30" fmla="*/ 1657446 h 1885950"/>
              <a:gd name="connsiteX31" fmla="*/ 1223585 w 1880293"/>
              <a:gd name="connsiteY31" fmla="*/ 1645545 h 1885950"/>
              <a:gd name="connsiteX32" fmla="*/ 1213262 w 1880293"/>
              <a:gd name="connsiteY32" fmla="*/ 1634437 h 1885950"/>
              <a:gd name="connsiteX33" fmla="*/ 1201350 w 1880293"/>
              <a:gd name="connsiteY33" fmla="*/ 1624123 h 1885950"/>
              <a:gd name="connsiteX34" fmla="*/ 1189439 w 1880293"/>
              <a:gd name="connsiteY34" fmla="*/ 1614602 h 1885950"/>
              <a:gd name="connsiteX35" fmla="*/ 1175146 w 1880293"/>
              <a:gd name="connsiteY35" fmla="*/ 1605874 h 1885950"/>
              <a:gd name="connsiteX36" fmla="*/ 1160058 w 1880293"/>
              <a:gd name="connsiteY36" fmla="*/ 1598734 h 1885950"/>
              <a:gd name="connsiteX37" fmla="*/ 1144176 w 1880293"/>
              <a:gd name="connsiteY37" fmla="*/ 1591593 h 1885950"/>
              <a:gd name="connsiteX38" fmla="*/ 1127500 w 1880293"/>
              <a:gd name="connsiteY38" fmla="*/ 1586832 h 1885950"/>
              <a:gd name="connsiteX39" fmla="*/ 1110031 w 1880293"/>
              <a:gd name="connsiteY39" fmla="*/ 1583659 h 1885950"/>
              <a:gd name="connsiteX40" fmla="*/ 1091767 w 1880293"/>
              <a:gd name="connsiteY40" fmla="*/ 1581278 h 1885950"/>
              <a:gd name="connsiteX41" fmla="*/ 1073503 w 1880293"/>
              <a:gd name="connsiteY41" fmla="*/ 1581278 h 1885950"/>
              <a:gd name="connsiteX42" fmla="*/ 1054445 w 1880293"/>
              <a:gd name="connsiteY42" fmla="*/ 1581278 h 1885950"/>
              <a:gd name="connsiteX43" fmla="*/ 1036181 w 1880293"/>
              <a:gd name="connsiteY43" fmla="*/ 1583659 h 1885950"/>
              <a:gd name="connsiteX44" fmla="*/ 1018711 w 1880293"/>
              <a:gd name="connsiteY44" fmla="*/ 1586832 h 1885950"/>
              <a:gd name="connsiteX45" fmla="*/ 1002035 w 1880293"/>
              <a:gd name="connsiteY45" fmla="*/ 1591593 h 1885950"/>
              <a:gd name="connsiteX46" fmla="*/ 986153 w 1880293"/>
              <a:gd name="connsiteY46" fmla="*/ 1598734 h 1885950"/>
              <a:gd name="connsiteX47" fmla="*/ 971066 w 1880293"/>
              <a:gd name="connsiteY47" fmla="*/ 1605874 h 1885950"/>
              <a:gd name="connsiteX48" fmla="*/ 956772 w 1880293"/>
              <a:gd name="connsiteY48" fmla="*/ 1614602 h 1885950"/>
              <a:gd name="connsiteX49" fmla="*/ 944067 w 1880293"/>
              <a:gd name="connsiteY49" fmla="*/ 1624123 h 1885950"/>
              <a:gd name="connsiteX50" fmla="*/ 932950 w 1880293"/>
              <a:gd name="connsiteY50" fmla="*/ 1634437 h 1885950"/>
              <a:gd name="connsiteX51" fmla="*/ 922627 w 1880293"/>
              <a:gd name="connsiteY51" fmla="*/ 1645545 h 1885950"/>
              <a:gd name="connsiteX52" fmla="*/ 913098 w 1880293"/>
              <a:gd name="connsiteY52" fmla="*/ 1657446 h 1885950"/>
              <a:gd name="connsiteX53" fmla="*/ 905951 w 1880293"/>
              <a:gd name="connsiteY53" fmla="*/ 1670141 h 1885950"/>
              <a:gd name="connsiteX54" fmla="*/ 898804 w 1880293"/>
              <a:gd name="connsiteY54" fmla="*/ 1682836 h 1885950"/>
              <a:gd name="connsiteX55" fmla="*/ 894834 w 1880293"/>
              <a:gd name="connsiteY55" fmla="*/ 1697117 h 1885950"/>
              <a:gd name="connsiteX56" fmla="*/ 891657 w 1880293"/>
              <a:gd name="connsiteY56" fmla="*/ 1711399 h 1885950"/>
              <a:gd name="connsiteX57" fmla="*/ 891657 w 1880293"/>
              <a:gd name="connsiteY57" fmla="*/ 1727267 h 1885950"/>
              <a:gd name="connsiteX58" fmla="*/ 891657 w 1880293"/>
              <a:gd name="connsiteY58" fmla="*/ 1739962 h 1885950"/>
              <a:gd name="connsiteX59" fmla="*/ 894040 w 1880293"/>
              <a:gd name="connsiteY59" fmla="*/ 1751863 h 1885950"/>
              <a:gd name="connsiteX60" fmla="*/ 896422 w 1880293"/>
              <a:gd name="connsiteY60" fmla="*/ 1762971 h 1885950"/>
              <a:gd name="connsiteX61" fmla="*/ 898164 w 1880293"/>
              <a:gd name="connsiteY61" fmla="*/ 1766741 h 1885950"/>
              <a:gd name="connsiteX62" fmla="*/ 898821 w 1880293"/>
              <a:gd name="connsiteY62" fmla="*/ 1769809 h 1885950"/>
              <a:gd name="connsiteX63" fmla="*/ 903586 w 1880293"/>
              <a:gd name="connsiteY63" fmla="*/ 1779338 h 1885950"/>
              <a:gd name="connsiteX64" fmla="*/ 908350 w 1880293"/>
              <a:gd name="connsiteY64" fmla="*/ 1788073 h 1885950"/>
              <a:gd name="connsiteX65" fmla="*/ 913910 w 1880293"/>
              <a:gd name="connsiteY65" fmla="*/ 1796807 h 1885950"/>
              <a:gd name="connsiteX66" fmla="*/ 918674 w 1880293"/>
              <a:gd name="connsiteY66" fmla="*/ 1804748 h 1885950"/>
              <a:gd name="connsiteX67" fmla="*/ 925028 w 1880293"/>
              <a:gd name="connsiteY67" fmla="*/ 1811101 h 1885950"/>
              <a:gd name="connsiteX68" fmla="*/ 936940 w 1880293"/>
              <a:gd name="connsiteY68" fmla="*/ 1823012 h 1885950"/>
              <a:gd name="connsiteX69" fmla="*/ 947264 w 1880293"/>
              <a:gd name="connsiteY69" fmla="*/ 1830159 h 1885950"/>
              <a:gd name="connsiteX70" fmla="*/ 956794 w 1880293"/>
              <a:gd name="connsiteY70" fmla="*/ 1835718 h 1885950"/>
              <a:gd name="connsiteX71" fmla="*/ 965529 w 1880293"/>
              <a:gd name="connsiteY71" fmla="*/ 1840482 h 1885950"/>
              <a:gd name="connsiteX72" fmla="*/ 971883 w 1880293"/>
              <a:gd name="connsiteY72" fmla="*/ 1845247 h 1885950"/>
              <a:gd name="connsiteX73" fmla="*/ 978236 w 1880293"/>
              <a:gd name="connsiteY73" fmla="*/ 1850011 h 1885950"/>
              <a:gd name="connsiteX74" fmla="*/ 983001 w 1880293"/>
              <a:gd name="connsiteY74" fmla="*/ 1856364 h 1885950"/>
              <a:gd name="connsiteX75" fmla="*/ 985866 w 1880293"/>
              <a:gd name="connsiteY75" fmla="*/ 1860661 h 1885950"/>
              <a:gd name="connsiteX76" fmla="*/ 987742 w 1880293"/>
              <a:gd name="connsiteY76" fmla="*/ 1866908 h 1885950"/>
              <a:gd name="connsiteX77" fmla="*/ 986153 w 1880293"/>
              <a:gd name="connsiteY77" fmla="*/ 1874049 h 1885950"/>
              <a:gd name="connsiteX78" fmla="*/ 982977 w 1880293"/>
              <a:gd name="connsiteY78" fmla="*/ 1880396 h 1885950"/>
              <a:gd name="connsiteX79" fmla="*/ 976624 w 1880293"/>
              <a:gd name="connsiteY79" fmla="*/ 1885950 h 1885950"/>
              <a:gd name="connsiteX80" fmla="*/ 311181 w 1880293"/>
              <a:gd name="connsiteY80" fmla="*/ 1885950 h 1885950"/>
              <a:gd name="connsiteX81" fmla="*/ 311181 w 1880293"/>
              <a:gd name="connsiteY81" fmla="*/ 1881384 h 1885950"/>
              <a:gd name="connsiteX82" fmla="*/ 314325 w 1880293"/>
              <a:gd name="connsiteY82" fmla="*/ 1881384 h 1885950"/>
              <a:gd name="connsiteX83" fmla="*/ 314325 w 1880293"/>
              <a:gd name="connsiteY83" fmla="*/ 1245819 h 1885950"/>
              <a:gd name="connsiteX84" fmla="*/ 313531 w 1880293"/>
              <a:gd name="connsiteY84" fmla="*/ 1236298 h 1885950"/>
              <a:gd name="connsiteX85" fmla="*/ 311944 w 1880293"/>
              <a:gd name="connsiteY85" fmla="*/ 1227569 h 1885950"/>
              <a:gd name="connsiteX86" fmla="*/ 309562 w 1880293"/>
              <a:gd name="connsiteY86" fmla="*/ 1220428 h 1885950"/>
              <a:gd name="connsiteX87" fmla="*/ 307181 w 1880293"/>
              <a:gd name="connsiteY87" fmla="*/ 1215668 h 1885950"/>
              <a:gd name="connsiteX88" fmla="*/ 304006 w 1880293"/>
              <a:gd name="connsiteY88" fmla="*/ 1210907 h 1885950"/>
              <a:gd name="connsiteX89" fmla="*/ 300037 w 1880293"/>
              <a:gd name="connsiteY89" fmla="*/ 1207733 h 1885950"/>
              <a:gd name="connsiteX90" fmla="*/ 295275 w 1880293"/>
              <a:gd name="connsiteY90" fmla="*/ 1205352 h 1885950"/>
              <a:gd name="connsiteX91" fmla="*/ 290512 w 1880293"/>
              <a:gd name="connsiteY91" fmla="*/ 1203766 h 1885950"/>
              <a:gd name="connsiteX92" fmla="*/ 284956 w 1880293"/>
              <a:gd name="connsiteY92" fmla="*/ 1203766 h 1885950"/>
              <a:gd name="connsiteX93" fmla="*/ 280194 w 1880293"/>
              <a:gd name="connsiteY93" fmla="*/ 1205352 h 1885950"/>
              <a:gd name="connsiteX94" fmla="*/ 274637 w 1880293"/>
              <a:gd name="connsiteY94" fmla="*/ 1206146 h 1885950"/>
              <a:gd name="connsiteX95" fmla="*/ 269875 w 1880293"/>
              <a:gd name="connsiteY95" fmla="*/ 1210113 h 1885950"/>
              <a:gd name="connsiteX96" fmla="*/ 263525 w 1880293"/>
              <a:gd name="connsiteY96" fmla="*/ 1214874 h 1885950"/>
              <a:gd name="connsiteX97" fmla="*/ 258762 w 1880293"/>
              <a:gd name="connsiteY97" fmla="*/ 1220428 h 1885950"/>
              <a:gd name="connsiteX98" fmla="*/ 255879 w 1880293"/>
              <a:gd name="connsiteY98" fmla="*/ 1224751 h 1885950"/>
              <a:gd name="connsiteX99" fmla="*/ 255595 w 1880293"/>
              <a:gd name="connsiteY99" fmla="*/ 1225035 h 1885950"/>
              <a:gd name="connsiteX100" fmla="*/ 250831 w 1880293"/>
              <a:gd name="connsiteY100" fmla="*/ 1232175 h 1885950"/>
              <a:gd name="connsiteX101" fmla="*/ 247958 w 1880293"/>
              <a:gd name="connsiteY101" fmla="*/ 1238490 h 1885950"/>
              <a:gd name="connsiteX102" fmla="*/ 243681 w 1880293"/>
              <a:gd name="connsiteY102" fmla="*/ 1245819 h 1885950"/>
              <a:gd name="connsiteX103" fmla="*/ 236855 w 1880293"/>
              <a:gd name="connsiteY103" fmla="*/ 1255675 h 1885950"/>
              <a:gd name="connsiteX104" fmla="*/ 235775 w 1880293"/>
              <a:gd name="connsiteY104" fmla="*/ 1256951 h 1885950"/>
              <a:gd name="connsiteX105" fmla="*/ 225425 w 1880293"/>
              <a:gd name="connsiteY105" fmla="*/ 1268036 h 1885950"/>
              <a:gd name="connsiteX106" fmla="*/ 218281 w 1880293"/>
              <a:gd name="connsiteY106" fmla="*/ 1274384 h 1885950"/>
              <a:gd name="connsiteX107" fmla="*/ 211137 w 1880293"/>
              <a:gd name="connsiteY107" fmla="*/ 1279938 h 1885950"/>
              <a:gd name="connsiteX108" fmla="*/ 203200 w 1880293"/>
              <a:gd name="connsiteY108" fmla="*/ 1284699 h 1885950"/>
              <a:gd name="connsiteX109" fmla="*/ 193675 w 1880293"/>
              <a:gd name="connsiteY109" fmla="*/ 1289460 h 1885950"/>
              <a:gd name="connsiteX110" fmla="*/ 182562 w 1880293"/>
              <a:gd name="connsiteY110" fmla="*/ 1294220 h 1885950"/>
              <a:gd name="connsiteX111" fmla="*/ 172244 w 1880293"/>
              <a:gd name="connsiteY111" fmla="*/ 1296601 h 1885950"/>
              <a:gd name="connsiteX112" fmla="*/ 160337 w 1880293"/>
              <a:gd name="connsiteY112" fmla="*/ 1298981 h 1885950"/>
              <a:gd name="connsiteX113" fmla="*/ 147637 w 1880293"/>
              <a:gd name="connsiteY113" fmla="*/ 1300568 h 1885950"/>
              <a:gd name="connsiteX114" fmla="*/ 131762 w 1880293"/>
              <a:gd name="connsiteY114" fmla="*/ 1298981 h 1885950"/>
              <a:gd name="connsiteX115" fmla="*/ 117475 w 1880293"/>
              <a:gd name="connsiteY115" fmla="*/ 1296601 h 1885950"/>
              <a:gd name="connsiteX116" fmla="*/ 103187 w 1880293"/>
              <a:gd name="connsiteY116" fmla="*/ 1291840 h 1885950"/>
              <a:gd name="connsiteX117" fmla="*/ 90487 w 1880293"/>
              <a:gd name="connsiteY117" fmla="*/ 1286286 h 1885950"/>
              <a:gd name="connsiteX118" fmla="*/ 76994 w 1880293"/>
              <a:gd name="connsiteY118" fmla="*/ 1277558 h 1885950"/>
              <a:gd name="connsiteX119" fmla="*/ 65087 w 1880293"/>
              <a:gd name="connsiteY119" fmla="*/ 1269623 h 1885950"/>
              <a:gd name="connsiteX120" fmla="*/ 53181 w 1880293"/>
              <a:gd name="connsiteY120" fmla="*/ 1258515 h 1885950"/>
              <a:gd name="connsiteX121" fmla="*/ 44450 w 1880293"/>
              <a:gd name="connsiteY121" fmla="*/ 1246613 h 1885950"/>
              <a:gd name="connsiteX122" fmla="*/ 34925 w 1880293"/>
              <a:gd name="connsiteY122" fmla="*/ 1233917 h 1885950"/>
              <a:gd name="connsiteX123" fmla="*/ 26194 w 1880293"/>
              <a:gd name="connsiteY123" fmla="*/ 1219635 h 1885950"/>
              <a:gd name="connsiteX124" fmla="*/ 18256 w 1880293"/>
              <a:gd name="connsiteY124" fmla="*/ 1203766 h 1885950"/>
              <a:gd name="connsiteX125" fmla="*/ 11906 w 1880293"/>
              <a:gd name="connsiteY125" fmla="*/ 1188690 h 1885950"/>
              <a:gd name="connsiteX126" fmla="*/ 7144 w 1880293"/>
              <a:gd name="connsiteY126" fmla="*/ 1172027 h 1885950"/>
              <a:gd name="connsiteX127" fmla="*/ 3969 w 1880293"/>
              <a:gd name="connsiteY127" fmla="*/ 1154571 h 1885950"/>
              <a:gd name="connsiteX128" fmla="*/ 1587 w 1880293"/>
              <a:gd name="connsiteY128" fmla="*/ 1136321 h 1885950"/>
              <a:gd name="connsiteX129" fmla="*/ 0 w 1880293"/>
              <a:gd name="connsiteY129" fmla="*/ 1117278 h 1885950"/>
              <a:gd name="connsiteX130" fmla="*/ 1587 w 1880293"/>
              <a:gd name="connsiteY130" fmla="*/ 1099822 h 1885950"/>
              <a:gd name="connsiteX131" fmla="*/ 3969 w 1880293"/>
              <a:gd name="connsiteY131" fmla="*/ 1080779 h 1885950"/>
              <a:gd name="connsiteX132" fmla="*/ 7144 w 1880293"/>
              <a:gd name="connsiteY132" fmla="*/ 1064116 h 1885950"/>
              <a:gd name="connsiteX133" fmla="*/ 11906 w 1880293"/>
              <a:gd name="connsiteY133" fmla="*/ 1047453 h 1885950"/>
              <a:gd name="connsiteX134" fmla="*/ 18256 w 1880293"/>
              <a:gd name="connsiteY134" fmla="*/ 1030790 h 1885950"/>
              <a:gd name="connsiteX135" fmla="*/ 26194 w 1880293"/>
              <a:gd name="connsiteY135" fmla="*/ 1015715 h 1885950"/>
              <a:gd name="connsiteX136" fmla="*/ 34925 w 1880293"/>
              <a:gd name="connsiteY136" fmla="*/ 1002226 h 1885950"/>
              <a:gd name="connsiteX137" fmla="*/ 44450 w 1880293"/>
              <a:gd name="connsiteY137" fmla="*/ 989530 h 1885950"/>
              <a:gd name="connsiteX138" fmla="*/ 44692 w 1880293"/>
              <a:gd name="connsiteY138" fmla="*/ 989200 h 1885950"/>
              <a:gd name="connsiteX139" fmla="*/ 50721 w 1880293"/>
              <a:gd name="connsiteY139" fmla="*/ 982249 h 1885950"/>
              <a:gd name="connsiteX140" fmla="*/ 61839 w 1880293"/>
              <a:gd name="connsiteY140" fmla="*/ 971935 h 1885950"/>
              <a:gd name="connsiteX141" fmla="*/ 73750 w 1880293"/>
              <a:gd name="connsiteY141" fmla="*/ 962414 h 1885950"/>
              <a:gd name="connsiteX142" fmla="*/ 86455 w 1880293"/>
              <a:gd name="connsiteY142" fmla="*/ 955273 h 1885950"/>
              <a:gd name="connsiteX143" fmla="*/ 99955 w 1880293"/>
              <a:gd name="connsiteY143" fmla="*/ 948926 h 1885950"/>
              <a:gd name="connsiteX144" fmla="*/ 114248 w 1880293"/>
              <a:gd name="connsiteY144" fmla="*/ 944165 h 1885950"/>
              <a:gd name="connsiteX145" fmla="*/ 128542 w 1880293"/>
              <a:gd name="connsiteY145" fmla="*/ 940992 h 1885950"/>
              <a:gd name="connsiteX146" fmla="*/ 143629 w 1880293"/>
              <a:gd name="connsiteY146" fmla="*/ 940992 h 1885950"/>
              <a:gd name="connsiteX147" fmla="*/ 156335 w 1880293"/>
              <a:gd name="connsiteY147" fmla="*/ 940992 h 1885950"/>
              <a:gd name="connsiteX148" fmla="*/ 168246 w 1880293"/>
              <a:gd name="connsiteY148" fmla="*/ 943372 h 1885950"/>
              <a:gd name="connsiteX149" fmla="*/ 180157 w 1880293"/>
              <a:gd name="connsiteY149" fmla="*/ 946546 h 1885950"/>
              <a:gd name="connsiteX150" fmla="*/ 189686 w 1880293"/>
              <a:gd name="connsiteY150" fmla="*/ 950513 h 1885950"/>
              <a:gd name="connsiteX151" fmla="*/ 199215 w 1880293"/>
              <a:gd name="connsiteY151" fmla="*/ 955273 h 1885950"/>
              <a:gd name="connsiteX152" fmla="*/ 207950 w 1880293"/>
              <a:gd name="connsiteY152" fmla="*/ 960827 h 1885950"/>
              <a:gd name="connsiteX153" fmla="*/ 215097 w 1880293"/>
              <a:gd name="connsiteY153" fmla="*/ 965588 h 1885950"/>
              <a:gd name="connsiteX154" fmla="*/ 222244 w 1880293"/>
              <a:gd name="connsiteY154" fmla="*/ 971935 h 1885950"/>
              <a:gd name="connsiteX155" fmla="*/ 232567 w 1880293"/>
              <a:gd name="connsiteY155" fmla="*/ 983043 h 1885950"/>
              <a:gd name="connsiteX156" fmla="*/ 241302 w 1880293"/>
              <a:gd name="connsiteY156" fmla="*/ 994151 h 1885950"/>
              <a:gd name="connsiteX157" fmla="*/ 246860 w 1880293"/>
              <a:gd name="connsiteY157" fmla="*/ 1003672 h 1885950"/>
              <a:gd name="connsiteX158" fmla="*/ 250831 w 1880293"/>
              <a:gd name="connsiteY158" fmla="*/ 1011606 h 1885950"/>
              <a:gd name="connsiteX159" fmla="*/ 255595 w 1880293"/>
              <a:gd name="connsiteY159" fmla="*/ 1018746 h 1885950"/>
              <a:gd name="connsiteX160" fmla="*/ 260360 w 1880293"/>
              <a:gd name="connsiteY160" fmla="*/ 1025094 h 1885950"/>
              <a:gd name="connsiteX161" fmla="*/ 265918 w 1880293"/>
              <a:gd name="connsiteY161" fmla="*/ 1029854 h 1885950"/>
              <a:gd name="connsiteX162" fmla="*/ 270683 w 1880293"/>
              <a:gd name="connsiteY162" fmla="*/ 1033028 h 1885950"/>
              <a:gd name="connsiteX163" fmla="*/ 276242 w 1880293"/>
              <a:gd name="connsiteY163" fmla="*/ 1035408 h 1885950"/>
              <a:gd name="connsiteX164" fmla="*/ 281006 w 1880293"/>
              <a:gd name="connsiteY164" fmla="*/ 1036995 h 1885950"/>
              <a:gd name="connsiteX165" fmla="*/ 287359 w 1880293"/>
              <a:gd name="connsiteY165" fmla="*/ 1036995 h 1885950"/>
              <a:gd name="connsiteX166" fmla="*/ 292123 w 1880293"/>
              <a:gd name="connsiteY166" fmla="*/ 1035408 h 1885950"/>
              <a:gd name="connsiteX167" fmla="*/ 295300 w 1880293"/>
              <a:gd name="connsiteY167" fmla="*/ 1033028 h 1885950"/>
              <a:gd name="connsiteX168" fmla="*/ 300064 w 1880293"/>
              <a:gd name="connsiteY168" fmla="*/ 1029854 h 1885950"/>
              <a:gd name="connsiteX169" fmla="*/ 303738 w 1880293"/>
              <a:gd name="connsiteY169" fmla="*/ 1025451 h 1885950"/>
              <a:gd name="connsiteX170" fmla="*/ 304006 w 1880293"/>
              <a:gd name="connsiteY170" fmla="*/ 1025236 h 1885950"/>
              <a:gd name="connsiteX171" fmla="*/ 307181 w 1880293"/>
              <a:gd name="connsiteY171" fmla="*/ 1020475 h 1885950"/>
              <a:gd name="connsiteX172" fmla="*/ 309562 w 1880293"/>
              <a:gd name="connsiteY172" fmla="*/ 1014128 h 1885950"/>
              <a:gd name="connsiteX173" fmla="*/ 311944 w 1880293"/>
              <a:gd name="connsiteY173" fmla="*/ 1006987 h 1885950"/>
              <a:gd name="connsiteX174" fmla="*/ 313531 w 1880293"/>
              <a:gd name="connsiteY174" fmla="*/ 999052 h 1885950"/>
              <a:gd name="connsiteX175" fmla="*/ 314325 w 1880293"/>
              <a:gd name="connsiteY175" fmla="*/ 990324 h 1885950"/>
              <a:gd name="connsiteX176" fmla="*/ 314325 w 1880293"/>
              <a:gd name="connsiteY176" fmla="*/ 313400 h 1885950"/>
              <a:gd name="connsiteX177" fmla="*/ 946449 w 1880293"/>
              <a:gd name="connsiteY177" fmla="*/ 313400 h 1885950"/>
              <a:gd name="connsiteX178" fmla="*/ 954390 w 1880293"/>
              <a:gd name="connsiteY178" fmla="*/ 311813 h 1885950"/>
              <a:gd name="connsiteX179" fmla="*/ 963125 w 1880293"/>
              <a:gd name="connsiteY179" fmla="*/ 311019 h 1885950"/>
              <a:gd name="connsiteX180" fmla="*/ 969478 w 1880293"/>
              <a:gd name="connsiteY180" fmla="*/ 308639 h 1885950"/>
              <a:gd name="connsiteX181" fmla="*/ 975830 w 1880293"/>
              <a:gd name="connsiteY181" fmla="*/ 306259 h 1885950"/>
              <a:gd name="connsiteX182" fmla="*/ 980595 w 1880293"/>
              <a:gd name="connsiteY182" fmla="*/ 303085 h 1885950"/>
              <a:gd name="connsiteX183" fmla="*/ 983771 w 1880293"/>
              <a:gd name="connsiteY183" fmla="*/ 299118 h 1885950"/>
              <a:gd name="connsiteX184" fmla="*/ 986153 w 1880293"/>
              <a:gd name="connsiteY184" fmla="*/ 294358 h 1885950"/>
              <a:gd name="connsiteX185" fmla="*/ 987742 w 1880293"/>
              <a:gd name="connsiteY185" fmla="*/ 289597 h 1885950"/>
              <a:gd name="connsiteX186" fmla="*/ 987742 w 1880293"/>
              <a:gd name="connsiteY186" fmla="*/ 284043 h 1885950"/>
              <a:gd name="connsiteX187" fmla="*/ 987575 w 1880293"/>
              <a:gd name="connsiteY187" fmla="*/ 283541 h 1885950"/>
              <a:gd name="connsiteX188" fmla="*/ 988635 w 1880293"/>
              <a:gd name="connsiteY188" fmla="*/ 281422 h 1885950"/>
              <a:gd name="connsiteX189" fmla="*/ 990224 w 1880293"/>
              <a:gd name="connsiteY189" fmla="*/ 274281 h 1885950"/>
              <a:gd name="connsiteX190" fmla="*/ 987841 w 1880293"/>
              <a:gd name="connsiteY190" fmla="*/ 266347 h 1885950"/>
              <a:gd name="connsiteX191" fmla="*/ 983871 w 1880293"/>
              <a:gd name="connsiteY191" fmla="*/ 259206 h 1885950"/>
              <a:gd name="connsiteX192" fmla="*/ 978312 w 1880293"/>
              <a:gd name="connsiteY192" fmla="*/ 250479 h 1885950"/>
              <a:gd name="connsiteX193" fmla="*/ 968783 w 1880293"/>
              <a:gd name="connsiteY193" fmla="*/ 243338 h 1885950"/>
              <a:gd name="connsiteX194" fmla="*/ 956872 w 1880293"/>
              <a:gd name="connsiteY194" fmla="*/ 236197 h 1885950"/>
              <a:gd name="connsiteX195" fmla="*/ 947343 w 1880293"/>
              <a:gd name="connsiteY195" fmla="*/ 230643 h 1885950"/>
              <a:gd name="connsiteX196" fmla="*/ 937020 w 1880293"/>
              <a:gd name="connsiteY196" fmla="*/ 223503 h 1885950"/>
              <a:gd name="connsiteX197" fmla="*/ 925109 w 1880293"/>
              <a:gd name="connsiteY197" fmla="*/ 212395 h 1885950"/>
              <a:gd name="connsiteX198" fmla="*/ 918756 w 1880293"/>
              <a:gd name="connsiteY198" fmla="*/ 205254 h 1885950"/>
              <a:gd name="connsiteX199" fmla="*/ 913991 w 1880293"/>
              <a:gd name="connsiteY199" fmla="*/ 198113 h 1885950"/>
              <a:gd name="connsiteX200" fmla="*/ 908433 w 1880293"/>
              <a:gd name="connsiteY200" fmla="*/ 190179 h 1885950"/>
              <a:gd name="connsiteX201" fmla="*/ 903668 w 1880293"/>
              <a:gd name="connsiteY201" fmla="*/ 180658 h 1885950"/>
              <a:gd name="connsiteX202" fmla="*/ 898904 w 1880293"/>
              <a:gd name="connsiteY202" fmla="*/ 170344 h 1885950"/>
              <a:gd name="connsiteX203" fmla="*/ 896522 w 1880293"/>
              <a:gd name="connsiteY203" fmla="*/ 159236 h 1885950"/>
              <a:gd name="connsiteX204" fmla="*/ 894139 w 1880293"/>
              <a:gd name="connsiteY204" fmla="*/ 147335 h 1885950"/>
              <a:gd name="connsiteX205" fmla="*/ 894139 w 1880293"/>
              <a:gd name="connsiteY205" fmla="*/ 134640 h 1885950"/>
              <a:gd name="connsiteX206" fmla="*/ 894139 w 1880293"/>
              <a:gd name="connsiteY206" fmla="*/ 120797 h 1885950"/>
              <a:gd name="connsiteX207" fmla="*/ 894834 w 1880293"/>
              <a:gd name="connsiteY207" fmla="*/ 116632 h 1885950"/>
              <a:gd name="connsiteX208" fmla="*/ 899598 w 1880293"/>
              <a:gd name="connsiteY208" fmla="*/ 102351 h 1885950"/>
              <a:gd name="connsiteX209" fmla="*/ 905951 w 1880293"/>
              <a:gd name="connsiteY209" fmla="*/ 88863 h 1885950"/>
              <a:gd name="connsiteX210" fmla="*/ 913098 w 1880293"/>
              <a:gd name="connsiteY210" fmla="*/ 76168 h 1885950"/>
              <a:gd name="connsiteX211" fmla="*/ 922627 w 1880293"/>
              <a:gd name="connsiteY211" fmla="*/ 64267 h 1885950"/>
              <a:gd name="connsiteX212" fmla="*/ 932950 w 1880293"/>
              <a:gd name="connsiteY212" fmla="*/ 52366 h 1885950"/>
              <a:gd name="connsiteX213" fmla="*/ 944861 w 1880293"/>
              <a:gd name="connsiteY213" fmla="*/ 42845 h 1885950"/>
              <a:gd name="connsiteX214" fmla="*/ 958360 w 1880293"/>
              <a:gd name="connsiteY214" fmla="*/ 33324 h 1885950"/>
              <a:gd name="connsiteX215" fmla="*/ 971066 w 1880293"/>
              <a:gd name="connsiteY215" fmla="*/ 25389 h 1885950"/>
              <a:gd name="connsiteX216" fmla="*/ 986153 w 1880293"/>
              <a:gd name="connsiteY216" fmla="*/ 16662 h 1885950"/>
              <a:gd name="connsiteX217" fmla="*/ 1002829 w 1880293"/>
              <a:gd name="connsiteY217" fmla="*/ 11108 h 1885950"/>
              <a:gd name="connsiteX218" fmla="*/ 1019505 w 1880293"/>
              <a:gd name="connsiteY218" fmla="*/ 6347 h 1885950"/>
              <a:gd name="connsiteX219" fmla="*/ 1036181 w 1880293"/>
              <a:gd name="connsiteY219" fmla="*/ 2380 h 1885950"/>
              <a:gd name="connsiteX220" fmla="*/ 1055239 w 1880293"/>
              <a:gd name="connsiteY220" fmla="*/ 0 h 1885950"/>
              <a:gd name="connsiteX221" fmla="*/ 1073503 w 1880293"/>
              <a:gd name="connsiteY221" fmla="*/ 0 h 1885950"/>
              <a:gd name="connsiteX222" fmla="*/ 1091767 w 1880293"/>
              <a:gd name="connsiteY222" fmla="*/ 0 h 1885950"/>
              <a:gd name="connsiteX223" fmla="*/ 1110031 w 1880293"/>
              <a:gd name="connsiteY223" fmla="*/ 2380 h 1885950"/>
              <a:gd name="connsiteX224" fmla="*/ 1127500 w 1880293"/>
              <a:gd name="connsiteY224" fmla="*/ 6347 h 1885950"/>
              <a:gd name="connsiteX225" fmla="*/ 1144176 w 1880293"/>
              <a:gd name="connsiteY225" fmla="*/ 11108 h 1885950"/>
              <a:gd name="connsiteX226" fmla="*/ 1160058 w 1880293"/>
              <a:gd name="connsiteY226" fmla="*/ 16662 h 1885950"/>
              <a:gd name="connsiteX227" fmla="*/ 1175146 w 1880293"/>
              <a:gd name="connsiteY227" fmla="*/ 25389 h 1885950"/>
              <a:gd name="connsiteX228" fmla="*/ 1189439 w 1880293"/>
              <a:gd name="connsiteY228" fmla="*/ 33324 h 1885950"/>
              <a:gd name="connsiteX229" fmla="*/ 1202144 w 1880293"/>
              <a:gd name="connsiteY229" fmla="*/ 42845 h 1885950"/>
              <a:gd name="connsiteX230" fmla="*/ 1214056 w 1880293"/>
              <a:gd name="connsiteY230" fmla="*/ 52366 h 1885950"/>
              <a:gd name="connsiteX231" fmla="*/ 1225173 w 1880293"/>
              <a:gd name="connsiteY231" fmla="*/ 64267 h 1885950"/>
              <a:gd name="connsiteX232" fmla="*/ 1233114 w 1880293"/>
              <a:gd name="connsiteY232" fmla="*/ 76168 h 1885950"/>
              <a:gd name="connsiteX233" fmla="*/ 1241849 w 1880293"/>
              <a:gd name="connsiteY233" fmla="*/ 88863 h 1885950"/>
              <a:gd name="connsiteX234" fmla="*/ 1247407 w 1880293"/>
              <a:gd name="connsiteY234" fmla="*/ 102351 h 1885950"/>
              <a:gd name="connsiteX235" fmla="*/ 1252172 w 1880293"/>
              <a:gd name="connsiteY235" fmla="*/ 116632 h 1885950"/>
              <a:gd name="connsiteX236" fmla="*/ 1254554 w 1880293"/>
              <a:gd name="connsiteY236" fmla="*/ 130914 h 1885950"/>
              <a:gd name="connsiteX237" fmla="*/ 1256142 w 1880293"/>
              <a:gd name="connsiteY237" fmla="*/ 145989 h 1885950"/>
              <a:gd name="connsiteX238" fmla="*/ 1254554 w 1880293"/>
              <a:gd name="connsiteY238" fmla="*/ 159477 h 1885950"/>
              <a:gd name="connsiteX239" fmla="*/ 1254482 w 1880293"/>
              <a:gd name="connsiteY239" fmla="*/ 159839 h 1885950"/>
              <a:gd name="connsiteX240" fmla="*/ 1251477 w 1880293"/>
              <a:gd name="connsiteY240" fmla="*/ 170344 h 1885950"/>
              <a:gd name="connsiteX241" fmla="*/ 1247507 w 1880293"/>
              <a:gd name="connsiteY241" fmla="*/ 180658 h 1885950"/>
              <a:gd name="connsiteX242" fmla="*/ 1242743 w 1880293"/>
              <a:gd name="connsiteY242" fmla="*/ 190179 h 1885950"/>
              <a:gd name="connsiteX243" fmla="*/ 1237184 w 1880293"/>
              <a:gd name="connsiteY243" fmla="*/ 198113 h 1885950"/>
              <a:gd name="connsiteX244" fmla="*/ 1232419 w 1880293"/>
              <a:gd name="connsiteY244" fmla="*/ 205254 h 1885950"/>
              <a:gd name="connsiteX245" fmla="*/ 1226067 w 1880293"/>
              <a:gd name="connsiteY245" fmla="*/ 212395 h 1885950"/>
              <a:gd name="connsiteX246" fmla="*/ 1214155 w 1880293"/>
              <a:gd name="connsiteY246" fmla="*/ 223503 h 1885950"/>
              <a:gd name="connsiteX247" fmla="*/ 1203832 w 1880293"/>
              <a:gd name="connsiteY247" fmla="*/ 230643 h 1885950"/>
              <a:gd name="connsiteX248" fmla="*/ 1194303 w 1880293"/>
              <a:gd name="connsiteY248" fmla="*/ 236197 h 1885950"/>
              <a:gd name="connsiteX249" fmla="*/ 1182392 w 1880293"/>
              <a:gd name="connsiteY249" fmla="*/ 243338 h 1885950"/>
              <a:gd name="connsiteX250" fmla="*/ 1172863 w 1880293"/>
              <a:gd name="connsiteY250" fmla="*/ 250479 h 1885950"/>
              <a:gd name="connsiteX251" fmla="*/ 1167304 w 1880293"/>
              <a:gd name="connsiteY251" fmla="*/ 259206 h 1885950"/>
              <a:gd name="connsiteX252" fmla="*/ 1162540 w 1880293"/>
              <a:gd name="connsiteY252" fmla="*/ 266347 h 1885950"/>
              <a:gd name="connsiteX253" fmla="*/ 1160952 w 1880293"/>
              <a:gd name="connsiteY253" fmla="*/ 274281 h 1885950"/>
              <a:gd name="connsiteX254" fmla="*/ 1161318 w 1880293"/>
              <a:gd name="connsiteY254" fmla="*/ 275926 h 1885950"/>
              <a:gd name="connsiteX255" fmla="*/ 1160058 w 1880293"/>
              <a:gd name="connsiteY255" fmla="*/ 279283 h 1885950"/>
              <a:gd name="connsiteX256" fmla="*/ 1160058 w 1880293"/>
              <a:gd name="connsiteY256" fmla="*/ 284043 h 1885950"/>
              <a:gd name="connsiteX257" fmla="*/ 1160058 w 1880293"/>
              <a:gd name="connsiteY257" fmla="*/ 289597 h 1885950"/>
              <a:gd name="connsiteX258" fmla="*/ 1160852 w 1880293"/>
              <a:gd name="connsiteY258" fmla="*/ 294358 h 1885950"/>
              <a:gd name="connsiteX259" fmla="*/ 1163234 w 1880293"/>
              <a:gd name="connsiteY259" fmla="*/ 299118 h 1885950"/>
              <a:gd name="connsiteX260" fmla="*/ 1167205 w 1880293"/>
              <a:gd name="connsiteY260" fmla="*/ 303085 h 1885950"/>
              <a:gd name="connsiteX261" fmla="*/ 1171969 w 1880293"/>
              <a:gd name="connsiteY261" fmla="*/ 306259 h 1885950"/>
              <a:gd name="connsiteX262" fmla="*/ 1176734 w 1880293"/>
              <a:gd name="connsiteY262" fmla="*/ 308639 h 1885950"/>
              <a:gd name="connsiteX263" fmla="*/ 1183880 w 1880293"/>
              <a:gd name="connsiteY263" fmla="*/ 311019 h 1885950"/>
              <a:gd name="connsiteX264" fmla="*/ 1191821 w 1880293"/>
              <a:gd name="connsiteY264" fmla="*/ 311813 h 1885950"/>
              <a:gd name="connsiteX265" fmla="*/ 1201350 w 1880293"/>
              <a:gd name="connsiteY265" fmla="*/ 313400 h 1885950"/>
              <a:gd name="connsiteX266" fmla="*/ 1880293 w 1880293"/>
              <a:gd name="connsiteY266" fmla="*/ 313400 h 188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Lst>
            <a:rect l="l" t="t" r="r" b="b"/>
            <a:pathLst>
              <a:path w="1880293" h="1885950">
                <a:moveTo>
                  <a:pt x="1880293" y="313400"/>
                </a:moveTo>
                <a:lnTo>
                  <a:pt x="1880293" y="1885950"/>
                </a:lnTo>
                <a:lnTo>
                  <a:pt x="1169587" y="1885950"/>
                </a:lnTo>
                <a:lnTo>
                  <a:pt x="1163234" y="1880396"/>
                </a:lnTo>
                <a:lnTo>
                  <a:pt x="1160891" y="1875713"/>
                </a:lnTo>
                <a:lnTo>
                  <a:pt x="1160891" y="1871451"/>
                </a:lnTo>
                <a:lnTo>
                  <a:pt x="1162479" y="1866687"/>
                </a:lnTo>
                <a:lnTo>
                  <a:pt x="1164862" y="1861128"/>
                </a:lnTo>
                <a:lnTo>
                  <a:pt x="1168038" y="1856364"/>
                </a:lnTo>
                <a:lnTo>
                  <a:pt x="1172803" y="1850011"/>
                </a:lnTo>
                <a:lnTo>
                  <a:pt x="1179156" y="1845247"/>
                </a:lnTo>
                <a:lnTo>
                  <a:pt x="1186304" y="1840482"/>
                </a:lnTo>
                <a:lnTo>
                  <a:pt x="1194245" y="1835718"/>
                </a:lnTo>
                <a:lnTo>
                  <a:pt x="1203775" y="1830159"/>
                </a:lnTo>
                <a:lnTo>
                  <a:pt x="1214099" y="1823012"/>
                </a:lnTo>
                <a:lnTo>
                  <a:pt x="1226011" y="1811101"/>
                </a:lnTo>
                <a:lnTo>
                  <a:pt x="1232364" y="1804748"/>
                </a:lnTo>
                <a:lnTo>
                  <a:pt x="1237129" y="1796807"/>
                </a:lnTo>
                <a:lnTo>
                  <a:pt x="1242688" y="1788073"/>
                </a:lnTo>
                <a:lnTo>
                  <a:pt x="1247453" y="1779338"/>
                </a:lnTo>
                <a:lnTo>
                  <a:pt x="1251424" y="1769809"/>
                </a:lnTo>
                <a:lnTo>
                  <a:pt x="1254601" y="1758691"/>
                </a:lnTo>
                <a:lnTo>
                  <a:pt x="1256983" y="1745986"/>
                </a:lnTo>
                <a:lnTo>
                  <a:pt x="1256983" y="1732487"/>
                </a:lnTo>
                <a:lnTo>
                  <a:pt x="1256983" y="1718193"/>
                </a:lnTo>
                <a:lnTo>
                  <a:pt x="1253807" y="1703900"/>
                </a:lnTo>
                <a:lnTo>
                  <a:pt x="1249836" y="1689606"/>
                </a:lnTo>
                <a:lnTo>
                  <a:pt x="1248605" y="1687144"/>
                </a:lnTo>
                <a:lnTo>
                  <a:pt x="1247407" y="1682836"/>
                </a:lnTo>
                <a:lnTo>
                  <a:pt x="1240261" y="1670141"/>
                </a:lnTo>
                <a:lnTo>
                  <a:pt x="1233114" y="1657446"/>
                </a:lnTo>
                <a:lnTo>
                  <a:pt x="1223585" y="1645545"/>
                </a:lnTo>
                <a:lnTo>
                  <a:pt x="1213262" y="1634437"/>
                </a:lnTo>
                <a:lnTo>
                  <a:pt x="1201350" y="1624123"/>
                </a:lnTo>
                <a:lnTo>
                  <a:pt x="1189439" y="1614602"/>
                </a:lnTo>
                <a:lnTo>
                  <a:pt x="1175146" y="1605874"/>
                </a:lnTo>
                <a:lnTo>
                  <a:pt x="1160058" y="1598734"/>
                </a:lnTo>
                <a:lnTo>
                  <a:pt x="1144176" y="1591593"/>
                </a:lnTo>
                <a:lnTo>
                  <a:pt x="1127500" y="1586832"/>
                </a:lnTo>
                <a:lnTo>
                  <a:pt x="1110031" y="1583659"/>
                </a:lnTo>
                <a:lnTo>
                  <a:pt x="1091767" y="1581278"/>
                </a:lnTo>
                <a:lnTo>
                  <a:pt x="1073503" y="1581278"/>
                </a:lnTo>
                <a:lnTo>
                  <a:pt x="1054445" y="1581278"/>
                </a:lnTo>
                <a:lnTo>
                  <a:pt x="1036181" y="1583659"/>
                </a:lnTo>
                <a:lnTo>
                  <a:pt x="1018711" y="1586832"/>
                </a:lnTo>
                <a:lnTo>
                  <a:pt x="1002035" y="1591593"/>
                </a:lnTo>
                <a:lnTo>
                  <a:pt x="986153" y="1598734"/>
                </a:lnTo>
                <a:lnTo>
                  <a:pt x="971066" y="1605874"/>
                </a:lnTo>
                <a:lnTo>
                  <a:pt x="956772" y="1614602"/>
                </a:lnTo>
                <a:lnTo>
                  <a:pt x="944067" y="1624123"/>
                </a:lnTo>
                <a:lnTo>
                  <a:pt x="932950" y="1634437"/>
                </a:lnTo>
                <a:lnTo>
                  <a:pt x="922627" y="1645545"/>
                </a:lnTo>
                <a:lnTo>
                  <a:pt x="913098" y="1657446"/>
                </a:lnTo>
                <a:lnTo>
                  <a:pt x="905951" y="1670141"/>
                </a:lnTo>
                <a:lnTo>
                  <a:pt x="898804" y="1682836"/>
                </a:lnTo>
                <a:lnTo>
                  <a:pt x="894834" y="1697117"/>
                </a:lnTo>
                <a:lnTo>
                  <a:pt x="891657" y="1711399"/>
                </a:lnTo>
                <a:lnTo>
                  <a:pt x="891657" y="1727267"/>
                </a:lnTo>
                <a:lnTo>
                  <a:pt x="891657" y="1739962"/>
                </a:lnTo>
                <a:lnTo>
                  <a:pt x="894040" y="1751863"/>
                </a:lnTo>
                <a:lnTo>
                  <a:pt x="896422" y="1762971"/>
                </a:lnTo>
                <a:lnTo>
                  <a:pt x="898164" y="1766741"/>
                </a:lnTo>
                <a:lnTo>
                  <a:pt x="898821" y="1769809"/>
                </a:lnTo>
                <a:lnTo>
                  <a:pt x="903586" y="1779338"/>
                </a:lnTo>
                <a:lnTo>
                  <a:pt x="908350" y="1788073"/>
                </a:lnTo>
                <a:lnTo>
                  <a:pt x="913910" y="1796807"/>
                </a:lnTo>
                <a:lnTo>
                  <a:pt x="918674" y="1804748"/>
                </a:lnTo>
                <a:lnTo>
                  <a:pt x="925028" y="1811101"/>
                </a:lnTo>
                <a:lnTo>
                  <a:pt x="936940" y="1823012"/>
                </a:lnTo>
                <a:lnTo>
                  <a:pt x="947264" y="1830159"/>
                </a:lnTo>
                <a:lnTo>
                  <a:pt x="956794" y="1835718"/>
                </a:lnTo>
                <a:lnTo>
                  <a:pt x="965529" y="1840482"/>
                </a:lnTo>
                <a:lnTo>
                  <a:pt x="971883" y="1845247"/>
                </a:lnTo>
                <a:lnTo>
                  <a:pt x="978236" y="1850011"/>
                </a:lnTo>
                <a:lnTo>
                  <a:pt x="983001" y="1856364"/>
                </a:lnTo>
                <a:lnTo>
                  <a:pt x="985866" y="1860661"/>
                </a:lnTo>
                <a:lnTo>
                  <a:pt x="987742" y="1866908"/>
                </a:lnTo>
                <a:lnTo>
                  <a:pt x="986153" y="1874049"/>
                </a:lnTo>
                <a:lnTo>
                  <a:pt x="982977" y="1880396"/>
                </a:lnTo>
                <a:lnTo>
                  <a:pt x="976624" y="1885950"/>
                </a:lnTo>
                <a:lnTo>
                  <a:pt x="311181" y="1885950"/>
                </a:lnTo>
                <a:lnTo>
                  <a:pt x="311181" y="1881384"/>
                </a:lnTo>
                <a:lnTo>
                  <a:pt x="314325" y="1881384"/>
                </a:lnTo>
                <a:lnTo>
                  <a:pt x="314325" y="1245819"/>
                </a:lnTo>
                <a:lnTo>
                  <a:pt x="313531" y="1236298"/>
                </a:lnTo>
                <a:lnTo>
                  <a:pt x="311944" y="1227569"/>
                </a:lnTo>
                <a:lnTo>
                  <a:pt x="309562" y="1220428"/>
                </a:lnTo>
                <a:lnTo>
                  <a:pt x="307181" y="1215668"/>
                </a:lnTo>
                <a:lnTo>
                  <a:pt x="304006" y="1210907"/>
                </a:lnTo>
                <a:lnTo>
                  <a:pt x="300037" y="1207733"/>
                </a:lnTo>
                <a:lnTo>
                  <a:pt x="295275" y="1205352"/>
                </a:lnTo>
                <a:lnTo>
                  <a:pt x="290512" y="1203766"/>
                </a:lnTo>
                <a:lnTo>
                  <a:pt x="284956" y="1203766"/>
                </a:lnTo>
                <a:lnTo>
                  <a:pt x="280194" y="1205352"/>
                </a:lnTo>
                <a:lnTo>
                  <a:pt x="274637" y="1206146"/>
                </a:lnTo>
                <a:lnTo>
                  <a:pt x="269875" y="1210113"/>
                </a:lnTo>
                <a:lnTo>
                  <a:pt x="263525" y="1214874"/>
                </a:lnTo>
                <a:lnTo>
                  <a:pt x="258762" y="1220428"/>
                </a:lnTo>
                <a:lnTo>
                  <a:pt x="255879" y="1224751"/>
                </a:lnTo>
                <a:lnTo>
                  <a:pt x="255595" y="1225035"/>
                </a:lnTo>
                <a:lnTo>
                  <a:pt x="250831" y="1232175"/>
                </a:lnTo>
                <a:lnTo>
                  <a:pt x="247958" y="1238490"/>
                </a:lnTo>
                <a:lnTo>
                  <a:pt x="243681" y="1245819"/>
                </a:lnTo>
                <a:lnTo>
                  <a:pt x="236855" y="1255675"/>
                </a:lnTo>
                <a:lnTo>
                  <a:pt x="235775" y="1256951"/>
                </a:lnTo>
                <a:lnTo>
                  <a:pt x="225425" y="1268036"/>
                </a:lnTo>
                <a:lnTo>
                  <a:pt x="218281" y="1274384"/>
                </a:lnTo>
                <a:lnTo>
                  <a:pt x="211137" y="1279938"/>
                </a:lnTo>
                <a:lnTo>
                  <a:pt x="203200" y="1284699"/>
                </a:lnTo>
                <a:lnTo>
                  <a:pt x="193675" y="1289460"/>
                </a:lnTo>
                <a:lnTo>
                  <a:pt x="182562" y="1294220"/>
                </a:lnTo>
                <a:lnTo>
                  <a:pt x="172244" y="1296601"/>
                </a:lnTo>
                <a:lnTo>
                  <a:pt x="160337" y="1298981"/>
                </a:lnTo>
                <a:lnTo>
                  <a:pt x="147637" y="1300568"/>
                </a:lnTo>
                <a:lnTo>
                  <a:pt x="131762" y="1298981"/>
                </a:lnTo>
                <a:lnTo>
                  <a:pt x="117475" y="1296601"/>
                </a:lnTo>
                <a:lnTo>
                  <a:pt x="103187" y="1291840"/>
                </a:lnTo>
                <a:lnTo>
                  <a:pt x="90487" y="1286286"/>
                </a:lnTo>
                <a:lnTo>
                  <a:pt x="76994" y="1277558"/>
                </a:lnTo>
                <a:lnTo>
                  <a:pt x="65087" y="1269623"/>
                </a:lnTo>
                <a:lnTo>
                  <a:pt x="53181" y="1258515"/>
                </a:lnTo>
                <a:lnTo>
                  <a:pt x="44450" y="1246613"/>
                </a:lnTo>
                <a:lnTo>
                  <a:pt x="34925" y="1233917"/>
                </a:lnTo>
                <a:lnTo>
                  <a:pt x="26194" y="1219635"/>
                </a:lnTo>
                <a:lnTo>
                  <a:pt x="18256" y="1203766"/>
                </a:lnTo>
                <a:lnTo>
                  <a:pt x="11906" y="1188690"/>
                </a:lnTo>
                <a:lnTo>
                  <a:pt x="7144" y="1172027"/>
                </a:lnTo>
                <a:lnTo>
                  <a:pt x="3969" y="1154571"/>
                </a:lnTo>
                <a:lnTo>
                  <a:pt x="1587" y="1136321"/>
                </a:lnTo>
                <a:lnTo>
                  <a:pt x="0" y="1117278"/>
                </a:lnTo>
                <a:lnTo>
                  <a:pt x="1587" y="1099822"/>
                </a:lnTo>
                <a:lnTo>
                  <a:pt x="3969" y="1080779"/>
                </a:lnTo>
                <a:lnTo>
                  <a:pt x="7144" y="1064116"/>
                </a:lnTo>
                <a:lnTo>
                  <a:pt x="11906" y="1047453"/>
                </a:lnTo>
                <a:lnTo>
                  <a:pt x="18256" y="1030790"/>
                </a:lnTo>
                <a:lnTo>
                  <a:pt x="26194" y="1015715"/>
                </a:lnTo>
                <a:lnTo>
                  <a:pt x="34925" y="1002226"/>
                </a:lnTo>
                <a:lnTo>
                  <a:pt x="44450" y="989530"/>
                </a:lnTo>
                <a:lnTo>
                  <a:pt x="44692" y="989200"/>
                </a:lnTo>
                <a:lnTo>
                  <a:pt x="50721" y="982249"/>
                </a:lnTo>
                <a:lnTo>
                  <a:pt x="61839" y="971935"/>
                </a:lnTo>
                <a:lnTo>
                  <a:pt x="73750" y="962414"/>
                </a:lnTo>
                <a:lnTo>
                  <a:pt x="86455" y="955273"/>
                </a:lnTo>
                <a:lnTo>
                  <a:pt x="99955" y="948926"/>
                </a:lnTo>
                <a:lnTo>
                  <a:pt x="114248" y="944165"/>
                </a:lnTo>
                <a:lnTo>
                  <a:pt x="128542" y="940992"/>
                </a:lnTo>
                <a:lnTo>
                  <a:pt x="143629" y="940992"/>
                </a:lnTo>
                <a:lnTo>
                  <a:pt x="156335" y="940992"/>
                </a:lnTo>
                <a:lnTo>
                  <a:pt x="168246" y="943372"/>
                </a:lnTo>
                <a:lnTo>
                  <a:pt x="180157" y="946546"/>
                </a:lnTo>
                <a:lnTo>
                  <a:pt x="189686" y="950513"/>
                </a:lnTo>
                <a:lnTo>
                  <a:pt x="199215" y="955273"/>
                </a:lnTo>
                <a:lnTo>
                  <a:pt x="207950" y="960827"/>
                </a:lnTo>
                <a:lnTo>
                  <a:pt x="215097" y="965588"/>
                </a:lnTo>
                <a:lnTo>
                  <a:pt x="222244" y="971935"/>
                </a:lnTo>
                <a:lnTo>
                  <a:pt x="232567" y="983043"/>
                </a:lnTo>
                <a:lnTo>
                  <a:pt x="241302" y="994151"/>
                </a:lnTo>
                <a:lnTo>
                  <a:pt x="246860" y="1003672"/>
                </a:lnTo>
                <a:lnTo>
                  <a:pt x="250831" y="1011606"/>
                </a:lnTo>
                <a:lnTo>
                  <a:pt x="255595" y="1018746"/>
                </a:lnTo>
                <a:lnTo>
                  <a:pt x="260360" y="1025094"/>
                </a:lnTo>
                <a:lnTo>
                  <a:pt x="265918" y="1029854"/>
                </a:lnTo>
                <a:lnTo>
                  <a:pt x="270683" y="1033028"/>
                </a:lnTo>
                <a:lnTo>
                  <a:pt x="276242" y="1035408"/>
                </a:lnTo>
                <a:lnTo>
                  <a:pt x="281006" y="1036995"/>
                </a:lnTo>
                <a:lnTo>
                  <a:pt x="287359" y="1036995"/>
                </a:lnTo>
                <a:lnTo>
                  <a:pt x="292123" y="1035408"/>
                </a:lnTo>
                <a:lnTo>
                  <a:pt x="295300" y="1033028"/>
                </a:lnTo>
                <a:lnTo>
                  <a:pt x="300064" y="1029854"/>
                </a:lnTo>
                <a:lnTo>
                  <a:pt x="303738" y="1025451"/>
                </a:lnTo>
                <a:lnTo>
                  <a:pt x="304006" y="1025236"/>
                </a:lnTo>
                <a:lnTo>
                  <a:pt x="307181" y="1020475"/>
                </a:lnTo>
                <a:lnTo>
                  <a:pt x="309562" y="1014128"/>
                </a:lnTo>
                <a:lnTo>
                  <a:pt x="311944" y="1006987"/>
                </a:lnTo>
                <a:lnTo>
                  <a:pt x="313531" y="999052"/>
                </a:lnTo>
                <a:lnTo>
                  <a:pt x="314325" y="990324"/>
                </a:lnTo>
                <a:lnTo>
                  <a:pt x="314325" y="313400"/>
                </a:lnTo>
                <a:lnTo>
                  <a:pt x="946449" y="313400"/>
                </a:lnTo>
                <a:lnTo>
                  <a:pt x="954390" y="311813"/>
                </a:lnTo>
                <a:lnTo>
                  <a:pt x="963125" y="311019"/>
                </a:lnTo>
                <a:lnTo>
                  <a:pt x="969478" y="308639"/>
                </a:lnTo>
                <a:lnTo>
                  <a:pt x="975830" y="306259"/>
                </a:lnTo>
                <a:lnTo>
                  <a:pt x="980595" y="303085"/>
                </a:lnTo>
                <a:lnTo>
                  <a:pt x="983771" y="299118"/>
                </a:lnTo>
                <a:lnTo>
                  <a:pt x="986153" y="294358"/>
                </a:lnTo>
                <a:lnTo>
                  <a:pt x="987742" y="289597"/>
                </a:lnTo>
                <a:lnTo>
                  <a:pt x="987742" y="284043"/>
                </a:lnTo>
                <a:lnTo>
                  <a:pt x="987575" y="283541"/>
                </a:lnTo>
                <a:lnTo>
                  <a:pt x="988635" y="281422"/>
                </a:lnTo>
                <a:lnTo>
                  <a:pt x="990224" y="274281"/>
                </a:lnTo>
                <a:lnTo>
                  <a:pt x="987841" y="266347"/>
                </a:lnTo>
                <a:lnTo>
                  <a:pt x="983871" y="259206"/>
                </a:lnTo>
                <a:lnTo>
                  <a:pt x="978312" y="250479"/>
                </a:lnTo>
                <a:lnTo>
                  <a:pt x="968783" y="243338"/>
                </a:lnTo>
                <a:lnTo>
                  <a:pt x="956872" y="236197"/>
                </a:lnTo>
                <a:lnTo>
                  <a:pt x="947343" y="230643"/>
                </a:lnTo>
                <a:lnTo>
                  <a:pt x="937020" y="223503"/>
                </a:lnTo>
                <a:lnTo>
                  <a:pt x="925109" y="212395"/>
                </a:lnTo>
                <a:lnTo>
                  <a:pt x="918756" y="205254"/>
                </a:lnTo>
                <a:lnTo>
                  <a:pt x="913991" y="198113"/>
                </a:lnTo>
                <a:lnTo>
                  <a:pt x="908433" y="190179"/>
                </a:lnTo>
                <a:lnTo>
                  <a:pt x="903668" y="180658"/>
                </a:lnTo>
                <a:lnTo>
                  <a:pt x="898904" y="170344"/>
                </a:lnTo>
                <a:lnTo>
                  <a:pt x="896522" y="159236"/>
                </a:lnTo>
                <a:lnTo>
                  <a:pt x="894139" y="147335"/>
                </a:lnTo>
                <a:lnTo>
                  <a:pt x="894139" y="134640"/>
                </a:lnTo>
                <a:lnTo>
                  <a:pt x="894139" y="120797"/>
                </a:lnTo>
                <a:lnTo>
                  <a:pt x="894834" y="116632"/>
                </a:lnTo>
                <a:lnTo>
                  <a:pt x="899598" y="102351"/>
                </a:lnTo>
                <a:lnTo>
                  <a:pt x="905951" y="88863"/>
                </a:lnTo>
                <a:lnTo>
                  <a:pt x="913098" y="76168"/>
                </a:lnTo>
                <a:lnTo>
                  <a:pt x="922627" y="64267"/>
                </a:lnTo>
                <a:lnTo>
                  <a:pt x="932950" y="52366"/>
                </a:lnTo>
                <a:lnTo>
                  <a:pt x="944861" y="42845"/>
                </a:lnTo>
                <a:lnTo>
                  <a:pt x="958360" y="33324"/>
                </a:lnTo>
                <a:lnTo>
                  <a:pt x="971066" y="25389"/>
                </a:lnTo>
                <a:lnTo>
                  <a:pt x="986153" y="16662"/>
                </a:lnTo>
                <a:lnTo>
                  <a:pt x="1002829" y="11108"/>
                </a:lnTo>
                <a:lnTo>
                  <a:pt x="1019505" y="6347"/>
                </a:lnTo>
                <a:lnTo>
                  <a:pt x="1036181" y="2380"/>
                </a:lnTo>
                <a:lnTo>
                  <a:pt x="1055239" y="0"/>
                </a:lnTo>
                <a:lnTo>
                  <a:pt x="1073503" y="0"/>
                </a:lnTo>
                <a:lnTo>
                  <a:pt x="1091767" y="0"/>
                </a:lnTo>
                <a:lnTo>
                  <a:pt x="1110031" y="2380"/>
                </a:lnTo>
                <a:lnTo>
                  <a:pt x="1127500" y="6347"/>
                </a:lnTo>
                <a:lnTo>
                  <a:pt x="1144176" y="11108"/>
                </a:lnTo>
                <a:lnTo>
                  <a:pt x="1160058" y="16662"/>
                </a:lnTo>
                <a:lnTo>
                  <a:pt x="1175146" y="25389"/>
                </a:lnTo>
                <a:lnTo>
                  <a:pt x="1189439" y="33324"/>
                </a:lnTo>
                <a:lnTo>
                  <a:pt x="1202144" y="42845"/>
                </a:lnTo>
                <a:lnTo>
                  <a:pt x="1214056" y="52366"/>
                </a:lnTo>
                <a:lnTo>
                  <a:pt x="1225173" y="64267"/>
                </a:lnTo>
                <a:lnTo>
                  <a:pt x="1233114" y="76168"/>
                </a:lnTo>
                <a:lnTo>
                  <a:pt x="1241849" y="88863"/>
                </a:lnTo>
                <a:lnTo>
                  <a:pt x="1247407" y="102351"/>
                </a:lnTo>
                <a:lnTo>
                  <a:pt x="1252172" y="116632"/>
                </a:lnTo>
                <a:lnTo>
                  <a:pt x="1254554" y="130914"/>
                </a:lnTo>
                <a:lnTo>
                  <a:pt x="1256142" y="145989"/>
                </a:lnTo>
                <a:lnTo>
                  <a:pt x="1254554" y="159477"/>
                </a:lnTo>
                <a:lnTo>
                  <a:pt x="1254482" y="159839"/>
                </a:lnTo>
                <a:lnTo>
                  <a:pt x="1251477" y="170344"/>
                </a:lnTo>
                <a:lnTo>
                  <a:pt x="1247507" y="180658"/>
                </a:lnTo>
                <a:lnTo>
                  <a:pt x="1242743" y="190179"/>
                </a:lnTo>
                <a:lnTo>
                  <a:pt x="1237184" y="198113"/>
                </a:lnTo>
                <a:lnTo>
                  <a:pt x="1232419" y="205254"/>
                </a:lnTo>
                <a:lnTo>
                  <a:pt x="1226067" y="212395"/>
                </a:lnTo>
                <a:lnTo>
                  <a:pt x="1214155" y="223503"/>
                </a:lnTo>
                <a:lnTo>
                  <a:pt x="1203832" y="230643"/>
                </a:lnTo>
                <a:lnTo>
                  <a:pt x="1194303" y="236197"/>
                </a:lnTo>
                <a:lnTo>
                  <a:pt x="1182392" y="243338"/>
                </a:lnTo>
                <a:lnTo>
                  <a:pt x="1172863" y="250479"/>
                </a:lnTo>
                <a:lnTo>
                  <a:pt x="1167304" y="259206"/>
                </a:lnTo>
                <a:lnTo>
                  <a:pt x="1162540" y="266347"/>
                </a:lnTo>
                <a:lnTo>
                  <a:pt x="1160952" y="274281"/>
                </a:lnTo>
                <a:lnTo>
                  <a:pt x="1161318" y="275926"/>
                </a:lnTo>
                <a:lnTo>
                  <a:pt x="1160058" y="279283"/>
                </a:lnTo>
                <a:lnTo>
                  <a:pt x="1160058" y="284043"/>
                </a:lnTo>
                <a:lnTo>
                  <a:pt x="1160058" y="289597"/>
                </a:lnTo>
                <a:lnTo>
                  <a:pt x="1160852" y="294358"/>
                </a:lnTo>
                <a:lnTo>
                  <a:pt x="1163234" y="299118"/>
                </a:lnTo>
                <a:lnTo>
                  <a:pt x="1167205" y="303085"/>
                </a:lnTo>
                <a:lnTo>
                  <a:pt x="1171969" y="306259"/>
                </a:lnTo>
                <a:lnTo>
                  <a:pt x="1176734" y="308639"/>
                </a:lnTo>
                <a:lnTo>
                  <a:pt x="1183880" y="311019"/>
                </a:lnTo>
                <a:lnTo>
                  <a:pt x="1191821" y="311813"/>
                </a:lnTo>
                <a:lnTo>
                  <a:pt x="1201350" y="313400"/>
                </a:lnTo>
                <a:lnTo>
                  <a:pt x="1880293" y="313400"/>
                </a:lnTo>
                <a:close/>
              </a:path>
            </a:pathLst>
          </a:custGeom>
          <a:ln>
            <a:solidFill>
              <a:schemeClr val="tx1">
                <a:lumMod val="50000"/>
                <a:lumOff val="50000"/>
              </a:schemeClr>
            </a:solidFill>
          </a:ln>
        </p:spPr>
      </p:pic>
      <p:pic>
        <p:nvPicPr>
          <p:cNvPr id="7" name="Picture 6">
            <a:extLst>
              <a:ext uri="{FF2B5EF4-FFF2-40B4-BE49-F238E27FC236}">
                <a16:creationId xmlns:a16="http://schemas.microsoft.com/office/drawing/2014/main" id="{CA5A78B3-F537-4155-9982-6BE2F1B52723}"/>
              </a:ext>
            </a:extLst>
          </p:cNvPr>
          <p:cNvPicPr>
            <a:picLocks noChangeAspect="1"/>
          </p:cNvPicPr>
          <p:nvPr/>
        </p:nvPicPr>
        <p:blipFill rotWithShape="1">
          <a:blip r:embed="rId2"/>
          <a:srcRect l="37966" t="20314" r="32947" b="45137"/>
          <a:stretch/>
        </p:blipFill>
        <p:spPr>
          <a:xfrm rot="16714941">
            <a:off x="8984778" y="4647190"/>
            <a:ext cx="1456941" cy="2711216"/>
          </a:xfrm>
          <a:custGeom>
            <a:avLst/>
            <a:gdLst>
              <a:gd name="connsiteX0" fmla="*/ 1568450 w 1568450"/>
              <a:gd name="connsiteY0" fmla="*/ 1883668 h 2200276"/>
              <a:gd name="connsiteX1" fmla="*/ 1568450 w 1568450"/>
              <a:gd name="connsiteY1" fmla="*/ 1884478 h 2200276"/>
              <a:gd name="connsiteX2" fmla="*/ 1134269 w 1568450"/>
              <a:gd name="connsiteY2" fmla="*/ 1884478 h 2200276"/>
              <a:gd name="connsiteX3" fmla="*/ 1134269 w 1568450"/>
              <a:gd name="connsiteY3" fmla="*/ 1885271 h 2200276"/>
              <a:gd name="connsiteX4" fmla="*/ 935037 w 1568450"/>
              <a:gd name="connsiteY4" fmla="*/ 1885271 h 2200276"/>
              <a:gd name="connsiteX5" fmla="*/ 925512 w 1568450"/>
              <a:gd name="connsiteY5" fmla="*/ 1886858 h 2200276"/>
              <a:gd name="connsiteX6" fmla="*/ 915987 w 1568450"/>
              <a:gd name="connsiteY6" fmla="*/ 1887651 h 2200276"/>
              <a:gd name="connsiteX7" fmla="*/ 908844 w 1568450"/>
              <a:gd name="connsiteY7" fmla="*/ 1890032 h 2200276"/>
              <a:gd name="connsiteX8" fmla="*/ 903287 w 1568450"/>
              <a:gd name="connsiteY8" fmla="*/ 1893999 h 2200276"/>
              <a:gd name="connsiteX9" fmla="*/ 896937 w 1568450"/>
              <a:gd name="connsiteY9" fmla="*/ 1899553 h 2200276"/>
              <a:gd name="connsiteX10" fmla="*/ 896793 w 1568450"/>
              <a:gd name="connsiteY10" fmla="*/ 1899877 h 2200276"/>
              <a:gd name="connsiteX11" fmla="*/ 893110 w 1568450"/>
              <a:gd name="connsiteY11" fmla="*/ 1899877 h 2200276"/>
              <a:gd name="connsiteX12" fmla="*/ 887412 w 1568450"/>
              <a:gd name="connsiteY12" fmla="*/ 1904860 h 2200276"/>
              <a:gd name="connsiteX13" fmla="*/ 884237 w 1568450"/>
              <a:gd name="connsiteY13" fmla="*/ 1912002 h 2200276"/>
              <a:gd name="connsiteX14" fmla="*/ 884237 w 1568450"/>
              <a:gd name="connsiteY14" fmla="*/ 1919143 h 2200276"/>
              <a:gd name="connsiteX15" fmla="*/ 885031 w 1568450"/>
              <a:gd name="connsiteY15" fmla="*/ 1926284 h 2200276"/>
              <a:gd name="connsiteX16" fmla="*/ 889000 w 1568450"/>
              <a:gd name="connsiteY16" fmla="*/ 1935012 h 2200276"/>
              <a:gd name="connsiteX17" fmla="*/ 896144 w 1568450"/>
              <a:gd name="connsiteY17" fmla="*/ 1942153 h 2200276"/>
              <a:gd name="connsiteX18" fmla="*/ 904081 w 1568450"/>
              <a:gd name="connsiteY18" fmla="*/ 1949294 h 2200276"/>
              <a:gd name="connsiteX19" fmla="*/ 915987 w 1568450"/>
              <a:gd name="connsiteY19" fmla="*/ 1956436 h 2200276"/>
              <a:gd name="connsiteX20" fmla="*/ 925512 w 1568450"/>
              <a:gd name="connsiteY20" fmla="*/ 1961990 h 2200276"/>
              <a:gd name="connsiteX21" fmla="*/ 936625 w 1568450"/>
              <a:gd name="connsiteY21" fmla="*/ 1969131 h 2200276"/>
              <a:gd name="connsiteX22" fmla="*/ 947737 w 1568450"/>
              <a:gd name="connsiteY22" fmla="*/ 1980239 h 2200276"/>
              <a:gd name="connsiteX23" fmla="*/ 954087 w 1568450"/>
              <a:gd name="connsiteY23" fmla="*/ 1987381 h 2200276"/>
              <a:gd name="connsiteX24" fmla="*/ 959644 w 1568450"/>
              <a:gd name="connsiteY24" fmla="*/ 1994522 h 2200276"/>
              <a:gd name="connsiteX25" fmla="*/ 964406 w 1568450"/>
              <a:gd name="connsiteY25" fmla="*/ 2003250 h 2200276"/>
              <a:gd name="connsiteX26" fmla="*/ 969169 w 1568450"/>
              <a:gd name="connsiteY26" fmla="*/ 2011978 h 2200276"/>
              <a:gd name="connsiteX27" fmla="*/ 973931 w 1568450"/>
              <a:gd name="connsiteY27" fmla="*/ 2022293 h 2200276"/>
              <a:gd name="connsiteX28" fmla="*/ 976312 w 1568450"/>
              <a:gd name="connsiteY28" fmla="*/ 2033402 h 2200276"/>
              <a:gd name="connsiteX29" fmla="*/ 978694 w 1568450"/>
              <a:gd name="connsiteY29" fmla="*/ 2045304 h 2200276"/>
              <a:gd name="connsiteX30" fmla="*/ 980281 w 1568450"/>
              <a:gd name="connsiteY30" fmla="*/ 2057999 h 2200276"/>
              <a:gd name="connsiteX31" fmla="*/ 978694 w 1568450"/>
              <a:gd name="connsiteY31" fmla="*/ 2073868 h 2200276"/>
              <a:gd name="connsiteX32" fmla="*/ 976312 w 1568450"/>
              <a:gd name="connsiteY32" fmla="*/ 2088151 h 2200276"/>
              <a:gd name="connsiteX33" fmla="*/ 971550 w 1568450"/>
              <a:gd name="connsiteY33" fmla="*/ 2102433 h 2200276"/>
              <a:gd name="connsiteX34" fmla="*/ 965994 w 1568450"/>
              <a:gd name="connsiteY34" fmla="*/ 2115128 h 2200276"/>
              <a:gd name="connsiteX35" fmla="*/ 957262 w 1568450"/>
              <a:gd name="connsiteY35" fmla="*/ 2127824 h 2200276"/>
              <a:gd name="connsiteX36" fmla="*/ 949325 w 1568450"/>
              <a:gd name="connsiteY36" fmla="*/ 2139726 h 2200276"/>
              <a:gd name="connsiteX37" fmla="*/ 939006 w 1568450"/>
              <a:gd name="connsiteY37" fmla="*/ 2151628 h 2200276"/>
              <a:gd name="connsiteX38" fmla="*/ 927100 w 1568450"/>
              <a:gd name="connsiteY38" fmla="*/ 2162736 h 2200276"/>
              <a:gd name="connsiteX39" fmla="*/ 913606 w 1568450"/>
              <a:gd name="connsiteY39" fmla="*/ 2170671 h 2200276"/>
              <a:gd name="connsiteX40" fmla="*/ 903451 w 1568450"/>
              <a:gd name="connsiteY40" fmla="*/ 2177438 h 2200276"/>
              <a:gd name="connsiteX41" fmla="*/ 893762 w 1568450"/>
              <a:gd name="connsiteY41" fmla="*/ 2182026 h 2200276"/>
              <a:gd name="connsiteX42" fmla="*/ 877887 w 1568450"/>
              <a:gd name="connsiteY42" fmla="*/ 2188374 h 2200276"/>
              <a:gd name="connsiteX43" fmla="*/ 861219 w 1568450"/>
              <a:gd name="connsiteY43" fmla="*/ 2193135 h 2200276"/>
              <a:gd name="connsiteX44" fmla="*/ 843756 w 1568450"/>
              <a:gd name="connsiteY44" fmla="*/ 2196309 h 2200276"/>
              <a:gd name="connsiteX45" fmla="*/ 826294 w 1568450"/>
              <a:gd name="connsiteY45" fmla="*/ 2198689 h 2200276"/>
              <a:gd name="connsiteX46" fmla="*/ 807244 w 1568450"/>
              <a:gd name="connsiteY46" fmla="*/ 2200276 h 2200276"/>
              <a:gd name="connsiteX47" fmla="*/ 788987 w 1568450"/>
              <a:gd name="connsiteY47" fmla="*/ 2198689 h 2200276"/>
              <a:gd name="connsiteX48" fmla="*/ 769937 w 1568450"/>
              <a:gd name="connsiteY48" fmla="*/ 2196309 h 2200276"/>
              <a:gd name="connsiteX49" fmla="*/ 753269 w 1568450"/>
              <a:gd name="connsiteY49" fmla="*/ 2193135 h 2200276"/>
              <a:gd name="connsiteX50" fmla="*/ 736600 w 1568450"/>
              <a:gd name="connsiteY50" fmla="*/ 2188374 h 2200276"/>
              <a:gd name="connsiteX51" fmla="*/ 720725 w 1568450"/>
              <a:gd name="connsiteY51" fmla="*/ 2182026 h 2200276"/>
              <a:gd name="connsiteX52" fmla="*/ 704850 w 1568450"/>
              <a:gd name="connsiteY52" fmla="*/ 2174885 h 2200276"/>
              <a:gd name="connsiteX53" fmla="*/ 692150 w 1568450"/>
              <a:gd name="connsiteY53" fmla="*/ 2165364 h 2200276"/>
              <a:gd name="connsiteX54" fmla="*/ 678656 w 1568450"/>
              <a:gd name="connsiteY54" fmla="*/ 2157429 h 2200276"/>
              <a:gd name="connsiteX55" fmla="*/ 666750 w 1568450"/>
              <a:gd name="connsiteY55" fmla="*/ 2146321 h 2200276"/>
              <a:gd name="connsiteX56" fmla="*/ 656431 w 1568450"/>
              <a:gd name="connsiteY56" fmla="*/ 2134419 h 2200276"/>
              <a:gd name="connsiteX57" fmla="*/ 646906 w 1568450"/>
              <a:gd name="connsiteY57" fmla="*/ 2122517 h 2200276"/>
              <a:gd name="connsiteX58" fmla="*/ 639762 w 1568450"/>
              <a:gd name="connsiteY58" fmla="*/ 2109821 h 2200276"/>
              <a:gd name="connsiteX59" fmla="*/ 633412 w 1568450"/>
              <a:gd name="connsiteY59" fmla="*/ 2097126 h 2200276"/>
              <a:gd name="connsiteX60" fmla="*/ 628650 w 1568450"/>
              <a:gd name="connsiteY60" fmla="*/ 2082844 h 2200276"/>
              <a:gd name="connsiteX61" fmla="*/ 626269 w 1568450"/>
              <a:gd name="connsiteY61" fmla="*/ 2068561 h 2200276"/>
              <a:gd name="connsiteX62" fmla="*/ 625475 w 1568450"/>
              <a:gd name="connsiteY62" fmla="*/ 2052692 h 2200276"/>
              <a:gd name="connsiteX63" fmla="*/ 625475 w 1568450"/>
              <a:gd name="connsiteY63" fmla="*/ 2039997 h 2200276"/>
              <a:gd name="connsiteX64" fmla="*/ 627856 w 1568450"/>
              <a:gd name="connsiteY64" fmla="*/ 2028095 h 2200276"/>
              <a:gd name="connsiteX65" fmla="*/ 631031 w 1568450"/>
              <a:gd name="connsiteY65" fmla="*/ 2016986 h 2200276"/>
              <a:gd name="connsiteX66" fmla="*/ 635000 w 1568450"/>
              <a:gd name="connsiteY66" fmla="*/ 2006671 h 2200276"/>
              <a:gd name="connsiteX67" fmla="*/ 639762 w 1568450"/>
              <a:gd name="connsiteY67" fmla="*/ 1997943 h 2200276"/>
              <a:gd name="connsiteX68" fmla="*/ 645319 w 1568450"/>
              <a:gd name="connsiteY68" fmla="*/ 1989215 h 2200276"/>
              <a:gd name="connsiteX69" fmla="*/ 651669 w 1568450"/>
              <a:gd name="connsiteY69" fmla="*/ 1982074 h 2200276"/>
              <a:gd name="connsiteX70" fmla="*/ 657225 w 1568450"/>
              <a:gd name="connsiteY70" fmla="*/ 1974932 h 2200276"/>
              <a:gd name="connsiteX71" fmla="*/ 669131 w 1568450"/>
              <a:gd name="connsiteY71" fmla="*/ 1963824 h 2200276"/>
              <a:gd name="connsiteX72" fmla="*/ 676469 w 1568450"/>
              <a:gd name="connsiteY72" fmla="*/ 1958322 h 2200276"/>
              <a:gd name="connsiteX73" fmla="*/ 680244 w 1568450"/>
              <a:gd name="connsiteY73" fmla="*/ 1956436 h 2200276"/>
              <a:gd name="connsiteX74" fmla="*/ 683085 w 1568450"/>
              <a:gd name="connsiteY74" fmla="*/ 1954469 h 2200276"/>
              <a:gd name="connsiteX75" fmla="*/ 689769 w 1568450"/>
              <a:gd name="connsiteY75" fmla="*/ 1951129 h 2200276"/>
              <a:gd name="connsiteX76" fmla="*/ 700087 w 1568450"/>
              <a:gd name="connsiteY76" fmla="*/ 1943987 h 2200276"/>
              <a:gd name="connsiteX77" fmla="*/ 709612 w 1568450"/>
              <a:gd name="connsiteY77" fmla="*/ 1936846 h 2200276"/>
              <a:gd name="connsiteX78" fmla="*/ 715962 w 1568450"/>
              <a:gd name="connsiteY78" fmla="*/ 1929705 h 2200276"/>
              <a:gd name="connsiteX79" fmla="*/ 720725 w 1568450"/>
              <a:gd name="connsiteY79" fmla="*/ 1920977 h 2200276"/>
              <a:gd name="connsiteX80" fmla="*/ 721519 w 1568450"/>
              <a:gd name="connsiteY80" fmla="*/ 1913836 h 2200276"/>
              <a:gd name="connsiteX81" fmla="*/ 720725 w 1568450"/>
              <a:gd name="connsiteY81" fmla="*/ 1906695 h 2200276"/>
              <a:gd name="connsiteX82" fmla="*/ 716756 w 1568450"/>
              <a:gd name="connsiteY82" fmla="*/ 1899553 h 2200276"/>
              <a:gd name="connsiteX83" fmla="*/ 711994 w 1568450"/>
              <a:gd name="connsiteY83" fmla="*/ 1893999 h 2200276"/>
              <a:gd name="connsiteX84" fmla="*/ 706437 w 1568450"/>
              <a:gd name="connsiteY84" fmla="*/ 1890032 h 2200276"/>
              <a:gd name="connsiteX85" fmla="*/ 697706 w 1568450"/>
              <a:gd name="connsiteY85" fmla="*/ 1887651 h 2200276"/>
              <a:gd name="connsiteX86" fmla="*/ 689769 w 1568450"/>
              <a:gd name="connsiteY86" fmla="*/ 1886858 h 2200276"/>
              <a:gd name="connsiteX87" fmla="*/ 680244 w 1568450"/>
              <a:gd name="connsiteY87" fmla="*/ 1885271 h 2200276"/>
              <a:gd name="connsiteX88" fmla="*/ 361156 w 1568450"/>
              <a:gd name="connsiteY88" fmla="*/ 1885271 h 2200276"/>
              <a:gd name="connsiteX89" fmla="*/ 361156 w 1568450"/>
              <a:gd name="connsiteY89" fmla="*/ 1884478 h 2200276"/>
              <a:gd name="connsiteX90" fmla="*/ 0 w 1568450"/>
              <a:gd name="connsiteY90" fmla="*/ 1884478 h 2200276"/>
              <a:gd name="connsiteX91" fmla="*/ 0 w 1568450"/>
              <a:gd name="connsiteY91" fmla="*/ 1206066 h 2200276"/>
              <a:gd name="connsiteX92" fmla="*/ 0 w 1568450"/>
              <a:gd name="connsiteY92" fmla="*/ 1196545 h 2200276"/>
              <a:gd name="connsiteX93" fmla="*/ 2381 w 1568450"/>
              <a:gd name="connsiteY93" fmla="*/ 1188610 h 2200276"/>
              <a:gd name="connsiteX94" fmla="*/ 3969 w 1568450"/>
              <a:gd name="connsiteY94" fmla="*/ 1181469 h 2200276"/>
              <a:gd name="connsiteX95" fmla="*/ 7144 w 1568450"/>
              <a:gd name="connsiteY95" fmla="*/ 1176708 h 2200276"/>
              <a:gd name="connsiteX96" fmla="*/ 11112 w 1568450"/>
              <a:gd name="connsiteY96" fmla="*/ 1171947 h 2200276"/>
              <a:gd name="connsiteX97" fmla="*/ 11505 w 1568450"/>
              <a:gd name="connsiteY97" fmla="*/ 1171456 h 2200276"/>
              <a:gd name="connsiteX98" fmla="*/ 15080 w 1568450"/>
              <a:gd name="connsiteY98" fmla="*/ 1170861 h 2200276"/>
              <a:gd name="connsiteX99" fmla="*/ 19843 w 1568450"/>
              <a:gd name="connsiteY99" fmla="*/ 1170861 h 2200276"/>
              <a:gd name="connsiteX100" fmla="*/ 26193 w 1568450"/>
              <a:gd name="connsiteY100" fmla="*/ 1171654 h 2200276"/>
              <a:gd name="connsiteX101" fmla="*/ 30955 w 1568450"/>
              <a:gd name="connsiteY101" fmla="*/ 1174033 h 2200276"/>
              <a:gd name="connsiteX102" fmla="*/ 36511 w 1568450"/>
              <a:gd name="connsiteY102" fmla="*/ 1177998 h 2200276"/>
              <a:gd name="connsiteX103" fmla="*/ 41274 w 1568450"/>
              <a:gd name="connsiteY103" fmla="*/ 1182757 h 2200276"/>
              <a:gd name="connsiteX104" fmla="*/ 46036 w 1568450"/>
              <a:gd name="connsiteY104" fmla="*/ 1188308 h 2200276"/>
              <a:gd name="connsiteX105" fmla="*/ 51593 w 1568450"/>
              <a:gd name="connsiteY105" fmla="*/ 1195446 h 2200276"/>
              <a:gd name="connsiteX106" fmla="*/ 55561 w 1568450"/>
              <a:gd name="connsiteY106" fmla="*/ 1204170 h 2200276"/>
              <a:gd name="connsiteX107" fmla="*/ 61118 w 1568450"/>
              <a:gd name="connsiteY107" fmla="*/ 1213687 h 2200276"/>
              <a:gd name="connsiteX108" fmla="*/ 69849 w 1568450"/>
              <a:gd name="connsiteY108" fmla="*/ 1223997 h 2200276"/>
              <a:gd name="connsiteX109" fmla="*/ 80168 w 1568450"/>
              <a:gd name="connsiteY109" fmla="*/ 1235893 h 2200276"/>
              <a:gd name="connsiteX110" fmla="*/ 86518 w 1568450"/>
              <a:gd name="connsiteY110" fmla="*/ 1241445 h 2200276"/>
              <a:gd name="connsiteX111" fmla="*/ 94455 w 1568450"/>
              <a:gd name="connsiteY111" fmla="*/ 1247790 h 2200276"/>
              <a:gd name="connsiteX112" fmla="*/ 103186 w 1568450"/>
              <a:gd name="connsiteY112" fmla="*/ 1252548 h 2200276"/>
              <a:gd name="connsiteX113" fmla="*/ 112711 w 1568450"/>
              <a:gd name="connsiteY113" fmla="*/ 1257307 h 2200276"/>
              <a:gd name="connsiteX114" fmla="*/ 122236 w 1568450"/>
              <a:gd name="connsiteY114" fmla="*/ 1262065 h 2200276"/>
              <a:gd name="connsiteX115" fmla="*/ 134143 w 1568450"/>
              <a:gd name="connsiteY115" fmla="*/ 1264444 h 2200276"/>
              <a:gd name="connsiteX116" fmla="*/ 146049 w 1568450"/>
              <a:gd name="connsiteY116" fmla="*/ 1266823 h 2200276"/>
              <a:gd name="connsiteX117" fmla="*/ 158749 w 1568450"/>
              <a:gd name="connsiteY117" fmla="*/ 1267617 h 2200276"/>
              <a:gd name="connsiteX118" fmla="*/ 173036 w 1568450"/>
              <a:gd name="connsiteY118" fmla="*/ 1266823 h 2200276"/>
              <a:gd name="connsiteX119" fmla="*/ 188118 w 1568450"/>
              <a:gd name="connsiteY119" fmla="*/ 1262858 h 2200276"/>
              <a:gd name="connsiteX120" fmla="*/ 201611 w 1568450"/>
              <a:gd name="connsiteY120" fmla="*/ 1259686 h 2200276"/>
              <a:gd name="connsiteX121" fmla="*/ 215899 w 1568450"/>
              <a:gd name="connsiteY121" fmla="*/ 1252548 h 2200276"/>
              <a:gd name="connsiteX122" fmla="*/ 227805 w 1568450"/>
              <a:gd name="connsiteY122" fmla="*/ 1245410 h 2200276"/>
              <a:gd name="connsiteX123" fmla="*/ 240505 w 1568450"/>
              <a:gd name="connsiteY123" fmla="*/ 1235893 h 2200276"/>
              <a:gd name="connsiteX124" fmla="*/ 251618 w 1568450"/>
              <a:gd name="connsiteY124" fmla="*/ 1226376 h 2200276"/>
              <a:gd name="connsiteX125" fmla="*/ 252067 w 1568450"/>
              <a:gd name="connsiteY125" fmla="*/ 1225858 h 2200276"/>
              <a:gd name="connsiteX126" fmla="*/ 260350 w 1568450"/>
              <a:gd name="connsiteY126" fmla="*/ 1218762 h 2200276"/>
              <a:gd name="connsiteX127" fmla="*/ 270669 w 1568450"/>
              <a:gd name="connsiteY127" fmla="*/ 1206860 h 2200276"/>
              <a:gd name="connsiteX128" fmla="*/ 280194 w 1568450"/>
              <a:gd name="connsiteY128" fmla="*/ 1194164 h 2200276"/>
              <a:gd name="connsiteX129" fmla="*/ 288131 w 1568450"/>
              <a:gd name="connsiteY129" fmla="*/ 1179882 h 2200276"/>
              <a:gd name="connsiteX130" fmla="*/ 295275 w 1568450"/>
              <a:gd name="connsiteY130" fmla="*/ 1164806 h 2200276"/>
              <a:gd name="connsiteX131" fmla="*/ 302419 w 1568450"/>
              <a:gd name="connsiteY131" fmla="*/ 1148937 h 2200276"/>
              <a:gd name="connsiteX132" fmla="*/ 307181 w 1568450"/>
              <a:gd name="connsiteY132" fmla="*/ 1132274 h 2200276"/>
              <a:gd name="connsiteX133" fmla="*/ 311150 w 1568450"/>
              <a:gd name="connsiteY133" fmla="*/ 1114818 h 2200276"/>
              <a:gd name="connsiteX134" fmla="*/ 313531 w 1568450"/>
              <a:gd name="connsiteY134" fmla="*/ 1096568 h 2200276"/>
              <a:gd name="connsiteX135" fmla="*/ 313531 w 1568450"/>
              <a:gd name="connsiteY135" fmla="*/ 1078318 h 2200276"/>
              <a:gd name="connsiteX136" fmla="*/ 313531 w 1568450"/>
              <a:gd name="connsiteY136" fmla="*/ 1060069 h 2200276"/>
              <a:gd name="connsiteX137" fmla="*/ 311150 w 1568450"/>
              <a:gd name="connsiteY137" fmla="*/ 1041026 h 2200276"/>
              <a:gd name="connsiteX138" fmla="*/ 307181 w 1568450"/>
              <a:gd name="connsiteY138" fmla="*/ 1024363 h 2200276"/>
              <a:gd name="connsiteX139" fmla="*/ 302419 w 1568450"/>
              <a:gd name="connsiteY139" fmla="*/ 1006907 h 2200276"/>
              <a:gd name="connsiteX140" fmla="*/ 295275 w 1568450"/>
              <a:gd name="connsiteY140" fmla="*/ 991037 h 2200276"/>
              <a:gd name="connsiteX141" fmla="*/ 288131 w 1568450"/>
              <a:gd name="connsiteY141" fmla="*/ 975962 h 2200276"/>
              <a:gd name="connsiteX142" fmla="*/ 280194 w 1568450"/>
              <a:gd name="connsiteY142" fmla="*/ 963266 h 2200276"/>
              <a:gd name="connsiteX143" fmla="*/ 270669 w 1568450"/>
              <a:gd name="connsiteY143" fmla="*/ 949777 h 2200276"/>
              <a:gd name="connsiteX144" fmla="*/ 260350 w 1568450"/>
              <a:gd name="connsiteY144" fmla="*/ 937875 h 2200276"/>
              <a:gd name="connsiteX145" fmla="*/ 249237 w 1568450"/>
              <a:gd name="connsiteY145" fmla="*/ 927560 h 2200276"/>
              <a:gd name="connsiteX146" fmla="*/ 237331 w 1568450"/>
              <a:gd name="connsiteY146" fmla="*/ 918039 h 2200276"/>
              <a:gd name="connsiteX147" fmla="*/ 224631 w 1568450"/>
              <a:gd name="connsiteY147" fmla="*/ 910898 h 2200276"/>
              <a:gd name="connsiteX148" fmla="*/ 211137 w 1568450"/>
              <a:gd name="connsiteY148" fmla="*/ 904550 h 2200276"/>
              <a:gd name="connsiteX149" fmla="*/ 196850 w 1568450"/>
              <a:gd name="connsiteY149" fmla="*/ 899789 h 2200276"/>
              <a:gd name="connsiteX150" fmla="*/ 182562 w 1568450"/>
              <a:gd name="connsiteY150" fmla="*/ 897409 h 2200276"/>
              <a:gd name="connsiteX151" fmla="*/ 167481 w 1568450"/>
              <a:gd name="connsiteY151" fmla="*/ 896615 h 2200276"/>
              <a:gd name="connsiteX152" fmla="*/ 153987 w 1568450"/>
              <a:gd name="connsiteY152" fmla="*/ 896615 h 2200276"/>
              <a:gd name="connsiteX153" fmla="*/ 142875 w 1568450"/>
              <a:gd name="connsiteY153" fmla="*/ 898996 h 2200276"/>
              <a:gd name="connsiteX154" fmla="*/ 131762 w 1568450"/>
              <a:gd name="connsiteY154" fmla="*/ 902169 h 2200276"/>
              <a:gd name="connsiteX155" fmla="*/ 121444 w 1568450"/>
              <a:gd name="connsiteY155" fmla="*/ 906137 h 2200276"/>
              <a:gd name="connsiteX156" fmla="*/ 111919 w 1568450"/>
              <a:gd name="connsiteY156" fmla="*/ 910898 h 2200276"/>
              <a:gd name="connsiteX157" fmla="*/ 103187 w 1568450"/>
              <a:gd name="connsiteY157" fmla="*/ 916452 h 2200276"/>
              <a:gd name="connsiteX158" fmla="*/ 96044 w 1568450"/>
              <a:gd name="connsiteY158" fmla="*/ 922800 h 2200276"/>
              <a:gd name="connsiteX159" fmla="*/ 93462 w 1568450"/>
              <a:gd name="connsiteY159" fmla="*/ 924807 h 2200276"/>
              <a:gd name="connsiteX160" fmla="*/ 86518 w 1568450"/>
              <a:gd name="connsiteY160" fmla="*/ 928971 h 2200276"/>
              <a:gd name="connsiteX161" fmla="*/ 80168 w 1568450"/>
              <a:gd name="connsiteY161" fmla="*/ 936108 h 2200276"/>
              <a:gd name="connsiteX162" fmla="*/ 69849 w 1568450"/>
              <a:gd name="connsiteY162" fmla="*/ 946418 h 2200276"/>
              <a:gd name="connsiteX163" fmla="*/ 61118 w 1568450"/>
              <a:gd name="connsiteY163" fmla="*/ 957522 h 2200276"/>
              <a:gd name="connsiteX164" fmla="*/ 55561 w 1568450"/>
              <a:gd name="connsiteY164" fmla="*/ 967039 h 2200276"/>
              <a:gd name="connsiteX165" fmla="*/ 51593 w 1568450"/>
              <a:gd name="connsiteY165" fmla="*/ 974969 h 2200276"/>
              <a:gd name="connsiteX166" fmla="*/ 46036 w 1568450"/>
              <a:gd name="connsiteY166" fmla="*/ 982107 h 2200276"/>
              <a:gd name="connsiteX167" fmla="*/ 41562 w 1568450"/>
              <a:gd name="connsiteY167" fmla="*/ 987323 h 2200276"/>
              <a:gd name="connsiteX168" fmla="*/ 38894 w 1568450"/>
              <a:gd name="connsiteY168" fmla="*/ 988657 h 2200276"/>
              <a:gd name="connsiteX169" fmla="*/ 34131 w 1568450"/>
              <a:gd name="connsiteY169" fmla="*/ 991037 h 2200276"/>
              <a:gd name="connsiteX170" fmla="*/ 28575 w 1568450"/>
              <a:gd name="connsiteY170" fmla="*/ 992624 h 2200276"/>
              <a:gd name="connsiteX171" fmla="*/ 23812 w 1568450"/>
              <a:gd name="connsiteY171" fmla="*/ 992624 h 2200276"/>
              <a:gd name="connsiteX172" fmla="*/ 19050 w 1568450"/>
              <a:gd name="connsiteY172" fmla="*/ 991037 h 2200276"/>
              <a:gd name="connsiteX173" fmla="*/ 14287 w 1568450"/>
              <a:gd name="connsiteY173" fmla="*/ 988657 h 2200276"/>
              <a:gd name="connsiteX174" fmla="*/ 11112 w 1568450"/>
              <a:gd name="connsiteY174" fmla="*/ 985483 h 2200276"/>
              <a:gd name="connsiteX175" fmla="*/ 7144 w 1568450"/>
              <a:gd name="connsiteY175" fmla="*/ 980722 h 2200276"/>
              <a:gd name="connsiteX176" fmla="*/ 3969 w 1568450"/>
              <a:gd name="connsiteY176" fmla="*/ 975168 h 2200276"/>
              <a:gd name="connsiteX177" fmla="*/ 2381 w 1568450"/>
              <a:gd name="connsiteY177" fmla="*/ 968027 h 2200276"/>
              <a:gd name="connsiteX178" fmla="*/ 0 w 1568450"/>
              <a:gd name="connsiteY178" fmla="*/ 959299 h 2200276"/>
              <a:gd name="connsiteX179" fmla="*/ 0 w 1568450"/>
              <a:gd name="connsiteY179" fmla="*/ 951364 h 2200276"/>
              <a:gd name="connsiteX180" fmla="*/ 0 w 1568450"/>
              <a:gd name="connsiteY180" fmla="*/ 314212 h 2200276"/>
              <a:gd name="connsiteX181" fmla="*/ 434181 w 1568450"/>
              <a:gd name="connsiteY181" fmla="*/ 314212 h 2200276"/>
              <a:gd name="connsiteX182" fmla="*/ 434181 w 1568450"/>
              <a:gd name="connsiteY182" fmla="*/ 312625 h 2200276"/>
              <a:gd name="connsiteX183" fmla="*/ 633412 w 1568450"/>
              <a:gd name="connsiteY183" fmla="*/ 312625 h 2200276"/>
              <a:gd name="connsiteX184" fmla="*/ 642937 w 1568450"/>
              <a:gd name="connsiteY184" fmla="*/ 312625 h 2200276"/>
              <a:gd name="connsiteX185" fmla="*/ 652462 w 1568450"/>
              <a:gd name="connsiteY185" fmla="*/ 310244 h 2200276"/>
              <a:gd name="connsiteX186" fmla="*/ 659606 w 1568450"/>
              <a:gd name="connsiteY186" fmla="*/ 307864 h 2200276"/>
              <a:gd name="connsiteX187" fmla="*/ 665956 w 1568450"/>
              <a:gd name="connsiteY187" fmla="*/ 304690 h 2200276"/>
              <a:gd name="connsiteX188" fmla="*/ 671512 w 1568450"/>
              <a:gd name="connsiteY188" fmla="*/ 299929 h 2200276"/>
              <a:gd name="connsiteX189" fmla="*/ 673894 w 1568450"/>
              <a:gd name="connsiteY189" fmla="*/ 292788 h 2200276"/>
              <a:gd name="connsiteX190" fmla="*/ 675481 w 1568450"/>
              <a:gd name="connsiteY190" fmla="*/ 285647 h 2200276"/>
              <a:gd name="connsiteX191" fmla="*/ 673894 w 1568450"/>
              <a:gd name="connsiteY191" fmla="*/ 277712 h 2200276"/>
              <a:gd name="connsiteX192" fmla="*/ 670719 w 1568450"/>
              <a:gd name="connsiteY192" fmla="*/ 270571 h 2200276"/>
              <a:gd name="connsiteX193" fmla="*/ 663575 w 1568450"/>
              <a:gd name="connsiteY193" fmla="*/ 261843 h 2200276"/>
              <a:gd name="connsiteX194" fmla="*/ 654050 w 1568450"/>
              <a:gd name="connsiteY194" fmla="*/ 254702 h 2200276"/>
              <a:gd name="connsiteX195" fmla="*/ 642937 w 1568450"/>
              <a:gd name="connsiteY195" fmla="*/ 249148 h 2200276"/>
              <a:gd name="connsiteX196" fmla="*/ 632619 w 1568450"/>
              <a:gd name="connsiteY196" fmla="*/ 242800 h 2200276"/>
              <a:gd name="connsiteX197" fmla="*/ 623094 w 1568450"/>
              <a:gd name="connsiteY197" fmla="*/ 234865 h 2200276"/>
              <a:gd name="connsiteX198" fmla="*/ 611187 w 1568450"/>
              <a:gd name="connsiteY198" fmla="*/ 223757 h 2200276"/>
              <a:gd name="connsiteX199" fmla="*/ 605631 w 1568450"/>
              <a:gd name="connsiteY199" fmla="*/ 216616 h 2200276"/>
              <a:gd name="connsiteX200" fmla="*/ 599281 w 1568450"/>
              <a:gd name="connsiteY200" fmla="*/ 209475 h 2200276"/>
              <a:gd name="connsiteX201" fmla="*/ 593725 w 1568450"/>
              <a:gd name="connsiteY201" fmla="*/ 201540 h 2200276"/>
              <a:gd name="connsiteX202" fmla="*/ 588962 w 1568450"/>
              <a:gd name="connsiteY202" fmla="*/ 192018 h 2200276"/>
              <a:gd name="connsiteX203" fmla="*/ 584994 w 1568450"/>
              <a:gd name="connsiteY203" fmla="*/ 182497 h 2200276"/>
              <a:gd name="connsiteX204" fmla="*/ 581819 w 1568450"/>
              <a:gd name="connsiteY204" fmla="*/ 170595 h 2200276"/>
              <a:gd name="connsiteX205" fmla="*/ 580231 w 1568450"/>
              <a:gd name="connsiteY205" fmla="*/ 158693 h 2200276"/>
              <a:gd name="connsiteX206" fmla="*/ 579437 w 1568450"/>
              <a:gd name="connsiteY206" fmla="*/ 145997 h 2200276"/>
              <a:gd name="connsiteX207" fmla="*/ 580231 w 1568450"/>
              <a:gd name="connsiteY207" fmla="*/ 131715 h 2200276"/>
              <a:gd name="connsiteX208" fmla="*/ 582612 w 1568450"/>
              <a:gd name="connsiteY208" fmla="*/ 115846 h 2200276"/>
              <a:gd name="connsiteX209" fmla="*/ 587375 w 1568450"/>
              <a:gd name="connsiteY209" fmla="*/ 101563 h 2200276"/>
              <a:gd name="connsiteX210" fmla="*/ 593725 w 1568450"/>
              <a:gd name="connsiteY210" fmla="*/ 88868 h 2200276"/>
              <a:gd name="connsiteX211" fmla="*/ 600869 w 1568450"/>
              <a:gd name="connsiteY211" fmla="*/ 75379 h 2200276"/>
              <a:gd name="connsiteX212" fmla="*/ 609600 w 1568450"/>
              <a:gd name="connsiteY212" fmla="*/ 64271 h 2200276"/>
              <a:gd name="connsiteX213" fmla="*/ 620712 w 1568450"/>
              <a:gd name="connsiteY213" fmla="*/ 53162 h 2200276"/>
              <a:gd name="connsiteX214" fmla="*/ 632619 w 1568450"/>
              <a:gd name="connsiteY214" fmla="*/ 42847 h 2200276"/>
              <a:gd name="connsiteX215" fmla="*/ 645319 w 1568450"/>
              <a:gd name="connsiteY215" fmla="*/ 33326 h 2200276"/>
              <a:gd name="connsiteX216" fmla="*/ 659606 w 1568450"/>
              <a:gd name="connsiteY216" fmla="*/ 24598 h 2200276"/>
              <a:gd name="connsiteX217" fmla="*/ 673894 w 1568450"/>
              <a:gd name="connsiteY217" fmla="*/ 17456 h 2200276"/>
              <a:gd name="connsiteX218" fmla="*/ 690562 w 1568450"/>
              <a:gd name="connsiteY218" fmla="*/ 11902 h 2200276"/>
              <a:gd name="connsiteX219" fmla="*/ 707231 w 1568450"/>
              <a:gd name="connsiteY219" fmla="*/ 5554 h 2200276"/>
              <a:gd name="connsiteX220" fmla="*/ 723900 w 1568450"/>
              <a:gd name="connsiteY220" fmla="*/ 2381 h 2200276"/>
              <a:gd name="connsiteX221" fmla="*/ 742950 w 1568450"/>
              <a:gd name="connsiteY221" fmla="*/ 794 h 2200276"/>
              <a:gd name="connsiteX222" fmla="*/ 760412 w 1568450"/>
              <a:gd name="connsiteY222" fmla="*/ 0 h 2200276"/>
              <a:gd name="connsiteX223" fmla="*/ 779462 w 1568450"/>
              <a:gd name="connsiteY223" fmla="*/ 794 h 2200276"/>
              <a:gd name="connsiteX224" fmla="*/ 797719 w 1568450"/>
              <a:gd name="connsiteY224" fmla="*/ 2381 h 2200276"/>
              <a:gd name="connsiteX225" fmla="*/ 809516 w 1568450"/>
              <a:gd name="connsiteY225" fmla="*/ 4525 h 2200276"/>
              <a:gd name="connsiteX226" fmla="*/ 821531 w 1568450"/>
              <a:gd name="connsiteY226" fmla="*/ 9104 h 2200276"/>
              <a:gd name="connsiteX227" fmla="*/ 836612 w 1568450"/>
              <a:gd name="connsiteY227" fmla="*/ 14663 h 2200276"/>
              <a:gd name="connsiteX228" fmla="*/ 852487 w 1568450"/>
              <a:gd name="connsiteY228" fmla="*/ 21811 h 2200276"/>
              <a:gd name="connsiteX229" fmla="*/ 866775 w 1568450"/>
              <a:gd name="connsiteY229" fmla="*/ 30547 h 2200276"/>
              <a:gd name="connsiteX230" fmla="*/ 879475 w 1568450"/>
              <a:gd name="connsiteY230" fmla="*/ 40076 h 2200276"/>
              <a:gd name="connsiteX231" fmla="*/ 891381 w 1568450"/>
              <a:gd name="connsiteY231" fmla="*/ 50400 h 2200276"/>
              <a:gd name="connsiteX232" fmla="*/ 900906 w 1568450"/>
              <a:gd name="connsiteY232" fmla="*/ 61518 h 2200276"/>
              <a:gd name="connsiteX233" fmla="*/ 910431 w 1568450"/>
              <a:gd name="connsiteY233" fmla="*/ 72637 h 2200276"/>
              <a:gd name="connsiteX234" fmla="*/ 919162 w 1568450"/>
              <a:gd name="connsiteY234" fmla="*/ 86137 h 2200276"/>
              <a:gd name="connsiteX235" fmla="*/ 924718 w 1568450"/>
              <a:gd name="connsiteY235" fmla="*/ 98844 h 2200276"/>
              <a:gd name="connsiteX236" fmla="*/ 929481 w 1568450"/>
              <a:gd name="connsiteY236" fmla="*/ 113138 h 2200276"/>
              <a:gd name="connsiteX237" fmla="*/ 931862 w 1568450"/>
              <a:gd name="connsiteY237" fmla="*/ 127433 h 2200276"/>
              <a:gd name="connsiteX238" fmla="*/ 933450 w 1568450"/>
              <a:gd name="connsiteY238" fmla="*/ 143316 h 2200276"/>
              <a:gd name="connsiteX239" fmla="*/ 931862 w 1568450"/>
              <a:gd name="connsiteY239" fmla="*/ 156022 h 2200276"/>
              <a:gd name="connsiteX240" fmla="*/ 929481 w 1568450"/>
              <a:gd name="connsiteY240" fmla="*/ 167935 h 2200276"/>
              <a:gd name="connsiteX241" fmla="*/ 927100 w 1568450"/>
              <a:gd name="connsiteY241" fmla="*/ 179847 h 2200276"/>
              <a:gd name="connsiteX242" fmla="*/ 922337 w 1568450"/>
              <a:gd name="connsiteY242" fmla="*/ 189377 h 2200276"/>
              <a:gd name="connsiteX243" fmla="*/ 917575 w 1568450"/>
              <a:gd name="connsiteY243" fmla="*/ 198907 h 2200276"/>
              <a:gd name="connsiteX244" fmla="*/ 912812 w 1568450"/>
              <a:gd name="connsiteY244" fmla="*/ 206848 h 2200276"/>
              <a:gd name="connsiteX245" fmla="*/ 907256 w 1568450"/>
              <a:gd name="connsiteY245" fmla="*/ 213995 h 2200276"/>
              <a:gd name="connsiteX246" fmla="*/ 900906 w 1568450"/>
              <a:gd name="connsiteY246" fmla="*/ 221143 h 2200276"/>
              <a:gd name="connsiteX247" fmla="*/ 889000 w 1568450"/>
              <a:gd name="connsiteY247" fmla="*/ 232261 h 2200276"/>
              <a:gd name="connsiteX248" fmla="*/ 878681 w 1568450"/>
              <a:gd name="connsiteY248" fmla="*/ 240202 h 2200276"/>
              <a:gd name="connsiteX249" fmla="*/ 869156 w 1568450"/>
              <a:gd name="connsiteY249" fmla="*/ 246556 h 2200276"/>
              <a:gd name="connsiteX250" fmla="*/ 857250 w 1568450"/>
              <a:gd name="connsiteY250" fmla="*/ 252115 h 2200276"/>
              <a:gd name="connsiteX251" fmla="*/ 848518 w 1568450"/>
              <a:gd name="connsiteY251" fmla="*/ 259262 h 2200276"/>
              <a:gd name="connsiteX252" fmla="*/ 841375 w 1568450"/>
              <a:gd name="connsiteY252" fmla="*/ 267998 h 2200276"/>
              <a:gd name="connsiteX253" fmla="*/ 838200 w 1568450"/>
              <a:gd name="connsiteY253" fmla="*/ 275145 h 2200276"/>
              <a:gd name="connsiteX254" fmla="*/ 835818 w 1568450"/>
              <a:gd name="connsiteY254" fmla="*/ 283087 h 2200276"/>
              <a:gd name="connsiteX255" fmla="*/ 836612 w 1568450"/>
              <a:gd name="connsiteY255" fmla="*/ 290234 h 2200276"/>
              <a:gd name="connsiteX256" fmla="*/ 840581 w 1568450"/>
              <a:gd name="connsiteY256" fmla="*/ 296587 h 2200276"/>
              <a:gd name="connsiteX257" fmla="*/ 846137 w 1568450"/>
              <a:gd name="connsiteY257" fmla="*/ 302146 h 2200276"/>
              <a:gd name="connsiteX258" fmla="*/ 853488 w 1568450"/>
              <a:gd name="connsiteY258" fmla="*/ 302146 h 2200276"/>
              <a:gd name="connsiteX259" fmla="*/ 856456 w 1568450"/>
              <a:gd name="connsiteY259" fmla="*/ 304690 h 2200276"/>
              <a:gd name="connsiteX260" fmla="*/ 862806 w 1568450"/>
              <a:gd name="connsiteY260" fmla="*/ 307864 h 2200276"/>
              <a:gd name="connsiteX261" fmla="*/ 869950 w 1568450"/>
              <a:gd name="connsiteY261" fmla="*/ 310244 h 2200276"/>
              <a:gd name="connsiteX262" fmla="*/ 879475 w 1568450"/>
              <a:gd name="connsiteY262" fmla="*/ 312625 h 2200276"/>
              <a:gd name="connsiteX263" fmla="*/ 889000 w 1568450"/>
              <a:gd name="connsiteY263" fmla="*/ 312625 h 2200276"/>
              <a:gd name="connsiteX264" fmla="*/ 1208087 w 1568450"/>
              <a:gd name="connsiteY264" fmla="*/ 312626 h 2200276"/>
              <a:gd name="connsiteX265" fmla="*/ 1208087 w 1568450"/>
              <a:gd name="connsiteY265" fmla="*/ 314213 h 2200276"/>
              <a:gd name="connsiteX266" fmla="*/ 1565417 w 1568450"/>
              <a:gd name="connsiteY266" fmla="*/ 314213 h 2200276"/>
              <a:gd name="connsiteX267" fmla="*/ 1567788 w 1568450"/>
              <a:gd name="connsiteY267" fmla="*/ 994249 h 2200276"/>
              <a:gd name="connsiteX268" fmla="*/ 1566200 w 1568450"/>
              <a:gd name="connsiteY268" fmla="*/ 1002183 h 2200276"/>
              <a:gd name="connsiteX269" fmla="*/ 1565406 w 1568450"/>
              <a:gd name="connsiteY269" fmla="*/ 1010910 h 2200276"/>
              <a:gd name="connsiteX270" fmla="*/ 1563024 w 1568450"/>
              <a:gd name="connsiteY270" fmla="*/ 1018051 h 2200276"/>
              <a:gd name="connsiteX271" fmla="*/ 1560642 w 1568450"/>
              <a:gd name="connsiteY271" fmla="*/ 1022812 h 2200276"/>
              <a:gd name="connsiteX272" fmla="*/ 1556671 w 1568450"/>
              <a:gd name="connsiteY272" fmla="*/ 1027572 h 2200276"/>
              <a:gd name="connsiteX273" fmla="*/ 1551907 w 1568450"/>
              <a:gd name="connsiteY273" fmla="*/ 1030746 h 2200276"/>
              <a:gd name="connsiteX274" fmla="*/ 1548730 w 1568450"/>
              <a:gd name="connsiteY274" fmla="*/ 1033126 h 2200276"/>
              <a:gd name="connsiteX275" fmla="*/ 1543966 w 1568450"/>
              <a:gd name="connsiteY275" fmla="*/ 1034713 h 2200276"/>
              <a:gd name="connsiteX276" fmla="*/ 1537613 w 1568450"/>
              <a:gd name="connsiteY276" fmla="*/ 1034713 h 2200276"/>
              <a:gd name="connsiteX277" fmla="*/ 1532849 w 1568450"/>
              <a:gd name="connsiteY277" fmla="*/ 1033126 h 2200276"/>
              <a:gd name="connsiteX278" fmla="*/ 1528226 w 1568450"/>
              <a:gd name="connsiteY278" fmla="*/ 1031146 h 2200276"/>
              <a:gd name="connsiteX279" fmla="*/ 1524000 w 1568450"/>
              <a:gd name="connsiteY279" fmla="*/ 1028330 h 2200276"/>
              <a:gd name="connsiteX280" fmla="*/ 1519264 w 1568450"/>
              <a:gd name="connsiteY280" fmla="*/ 1024778 h 2200276"/>
              <a:gd name="connsiteX281" fmla="*/ 1517289 w 1568450"/>
              <a:gd name="connsiteY281" fmla="*/ 1023087 h 2200276"/>
              <a:gd name="connsiteX282" fmla="*/ 1512887 w 1568450"/>
              <a:gd name="connsiteY282" fmla="*/ 1017222 h 2200276"/>
              <a:gd name="connsiteX283" fmla="*/ 1512079 w 1568450"/>
              <a:gd name="connsiteY283" fmla="*/ 1016278 h 2200276"/>
              <a:gd name="connsiteX284" fmla="*/ 1507438 w 1568450"/>
              <a:gd name="connsiteY284" fmla="*/ 1009324 h 2200276"/>
              <a:gd name="connsiteX285" fmla="*/ 1503467 w 1568450"/>
              <a:gd name="connsiteY285" fmla="*/ 1001389 h 2200276"/>
              <a:gd name="connsiteX286" fmla="*/ 1497909 w 1568450"/>
              <a:gd name="connsiteY286" fmla="*/ 991868 h 2200276"/>
              <a:gd name="connsiteX287" fmla="*/ 1489174 w 1568450"/>
              <a:gd name="connsiteY287" fmla="*/ 980761 h 2200276"/>
              <a:gd name="connsiteX288" fmla="*/ 1478851 w 1568450"/>
              <a:gd name="connsiteY288" fmla="*/ 969653 h 2200276"/>
              <a:gd name="connsiteX289" fmla="*/ 1471704 w 1568450"/>
              <a:gd name="connsiteY289" fmla="*/ 963306 h 2200276"/>
              <a:gd name="connsiteX290" fmla="*/ 1464557 w 1568450"/>
              <a:gd name="connsiteY290" fmla="*/ 958545 h 2200276"/>
              <a:gd name="connsiteX291" fmla="*/ 1460480 w 1568450"/>
              <a:gd name="connsiteY291" fmla="*/ 955952 h 2200276"/>
              <a:gd name="connsiteX292" fmla="*/ 1457325 w 1568450"/>
              <a:gd name="connsiteY292" fmla="*/ 953745 h 2200276"/>
              <a:gd name="connsiteX293" fmla="*/ 1455842 w 1568450"/>
              <a:gd name="connsiteY293" fmla="*/ 953003 h 2200276"/>
              <a:gd name="connsiteX294" fmla="*/ 1455822 w 1568450"/>
              <a:gd name="connsiteY294" fmla="*/ 952991 h 2200276"/>
              <a:gd name="connsiteX295" fmla="*/ 1446293 w 1568450"/>
              <a:gd name="connsiteY295" fmla="*/ 948231 h 2200276"/>
              <a:gd name="connsiteX296" fmla="*/ 1436764 w 1568450"/>
              <a:gd name="connsiteY296" fmla="*/ 944264 h 2200276"/>
              <a:gd name="connsiteX297" fmla="*/ 1424853 w 1568450"/>
              <a:gd name="connsiteY297" fmla="*/ 941090 h 2200276"/>
              <a:gd name="connsiteX298" fmla="*/ 1412942 w 1568450"/>
              <a:gd name="connsiteY298" fmla="*/ 938710 h 2200276"/>
              <a:gd name="connsiteX299" fmla="*/ 1400236 w 1568450"/>
              <a:gd name="connsiteY299" fmla="*/ 938710 h 2200276"/>
              <a:gd name="connsiteX300" fmla="*/ 1385149 w 1568450"/>
              <a:gd name="connsiteY300" fmla="*/ 938710 h 2200276"/>
              <a:gd name="connsiteX301" fmla="*/ 1370855 w 1568450"/>
              <a:gd name="connsiteY301" fmla="*/ 941883 h 2200276"/>
              <a:gd name="connsiteX302" fmla="*/ 1356562 w 1568450"/>
              <a:gd name="connsiteY302" fmla="*/ 946644 h 2200276"/>
              <a:gd name="connsiteX303" fmla="*/ 1343062 w 1568450"/>
              <a:gd name="connsiteY303" fmla="*/ 952991 h 2200276"/>
              <a:gd name="connsiteX304" fmla="*/ 1330357 w 1568450"/>
              <a:gd name="connsiteY304" fmla="*/ 960132 h 2200276"/>
              <a:gd name="connsiteX305" fmla="*/ 1318446 w 1568450"/>
              <a:gd name="connsiteY305" fmla="*/ 969653 h 2200276"/>
              <a:gd name="connsiteX306" fmla="*/ 1307328 w 1568450"/>
              <a:gd name="connsiteY306" fmla="*/ 979967 h 2200276"/>
              <a:gd name="connsiteX307" fmla="*/ 1297005 w 1568450"/>
              <a:gd name="connsiteY307" fmla="*/ 991868 h 2200276"/>
              <a:gd name="connsiteX308" fmla="*/ 1287476 w 1568450"/>
              <a:gd name="connsiteY308" fmla="*/ 1003770 h 2200276"/>
              <a:gd name="connsiteX309" fmla="*/ 1279536 w 1568450"/>
              <a:gd name="connsiteY309" fmla="*/ 1018051 h 2200276"/>
              <a:gd name="connsiteX310" fmla="*/ 1272389 w 1568450"/>
              <a:gd name="connsiteY310" fmla="*/ 1033126 h 2200276"/>
              <a:gd name="connsiteX311" fmla="*/ 1265242 w 1568450"/>
              <a:gd name="connsiteY311" fmla="*/ 1048994 h 2200276"/>
              <a:gd name="connsiteX312" fmla="*/ 1260477 w 1568450"/>
              <a:gd name="connsiteY312" fmla="*/ 1065656 h 2200276"/>
              <a:gd name="connsiteX313" fmla="*/ 1256507 w 1568450"/>
              <a:gd name="connsiteY313" fmla="*/ 1083111 h 2200276"/>
              <a:gd name="connsiteX314" fmla="*/ 1254125 w 1568450"/>
              <a:gd name="connsiteY314" fmla="*/ 1100567 h 2200276"/>
              <a:gd name="connsiteX315" fmla="*/ 1254125 w 1568450"/>
              <a:gd name="connsiteY315" fmla="*/ 1119609 h 2200276"/>
              <a:gd name="connsiteX316" fmla="*/ 1254125 w 1568450"/>
              <a:gd name="connsiteY316" fmla="*/ 1120372 h 2200276"/>
              <a:gd name="connsiteX317" fmla="*/ 1254125 w 1568450"/>
              <a:gd name="connsiteY317" fmla="*/ 1138650 h 2200276"/>
              <a:gd name="connsiteX318" fmla="*/ 1256507 w 1568450"/>
              <a:gd name="connsiteY318" fmla="*/ 1156899 h 2200276"/>
              <a:gd name="connsiteX319" fmla="*/ 1260477 w 1568450"/>
              <a:gd name="connsiteY319" fmla="*/ 1174354 h 2200276"/>
              <a:gd name="connsiteX320" fmla="*/ 1265242 w 1568450"/>
              <a:gd name="connsiteY320" fmla="*/ 1191016 h 2200276"/>
              <a:gd name="connsiteX321" fmla="*/ 1269415 w 1568450"/>
              <a:gd name="connsiteY321" fmla="*/ 1199816 h 2200276"/>
              <a:gd name="connsiteX322" fmla="*/ 1272381 w 1568450"/>
              <a:gd name="connsiteY322" fmla="*/ 1206860 h 2200276"/>
              <a:gd name="connsiteX323" fmla="*/ 1275940 w 1568450"/>
              <a:gd name="connsiteY323" fmla="*/ 1213973 h 2200276"/>
              <a:gd name="connsiteX324" fmla="*/ 1279536 w 1568450"/>
              <a:gd name="connsiteY324" fmla="*/ 1221959 h 2200276"/>
              <a:gd name="connsiteX325" fmla="*/ 1287476 w 1568450"/>
              <a:gd name="connsiteY325" fmla="*/ 1236241 h 2200276"/>
              <a:gd name="connsiteX326" fmla="*/ 1297005 w 1568450"/>
              <a:gd name="connsiteY326" fmla="*/ 1248935 h 2200276"/>
              <a:gd name="connsiteX327" fmla="*/ 1301770 w 1568450"/>
              <a:gd name="connsiteY327" fmla="*/ 1254062 h 2200276"/>
              <a:gd name="connsiteX328" fmla="*/ 1307306 w 1568450"/>
              <a:gd name="connsiteY328" fmla="*/ 1261609 h 2200276"/>
              <a:gd name="connsiteX329" fmla="*/ 1319212 w 1568450"/>
              <a:gd name="connsiteY329" fmla="*/ 1272717 h 2200276"/>
              <a:gd name="connsiteX330" fmla="*/ 1331119 w 1568450"/>
              <a:gd name="connsiteY330" fmla="*/ 1280652 h 2200276"/>
              <a:gd name="connsiteX331" fmla="*/ 1344612 w 1568450"/>
              <a:gd name="connsiteY331" fmla="*/ 1289380 h 2200276"/>
              <a:gd name="connsiteX332" fmla="*/ 1357312 w 1568450"/>
              <a:gd name="connsiteY332" fmla="*/ 1294934 h 2200276"/>
              <a:gd name="connsiteX333" fmla="*/ 1371600 w 1568450"/>
              <a:gd name="connsiteY333" fmla="*/ 1299695 h 2200276"/>
              <a:gd name="connsiteX334" fmla="*/ 1385887 w 1568450"/>
              <a:gd name="connsiteY334" fmla="*/ 1302075 h 2200276"/>
              <a:gd name="connsiteX335" fmla="*/ 1401762 w 1568450"/>
              <a:gd name="connsiteY335" fmla="*/ 1303662 h 2200276"/>
              <a:gd name="connsiteX336" fmla="*/ 1414462 w 1568450"/>
              <a:gd name="connsiteY336" fmla="*/ 1302075 h 2200276"/>
              <a:gd name="connsiteX337" fmla="*/ 1426369 w 1568450"/>
              <a:gd name="connsiteY337" fmla="*/ 1299695 h 2200276"/>
              <a:gd name="connsiteX338" fmla="*/ 1436687 w 1568450"/>
              <a:gd name="connsiteY338" fmla="*/ 1297314 h 2200276"/>
              <a:gd name="connsiteX339" fmla="*/ 1447800 w 1568450"/>
              <a:gd name="connsiteY339" fmla="*/ 1292554 h 2200276"/>
              <a:gd name="connsiteX340" fmla="*/ 1457325 w 1568450"/>
              <a:gd name="connsiteY340" fmla="*/ 1287793 h 2200276"/>
              <a:gd name="connsiteX341" fmla="*/ 1465262 w 1568450"/>
              <a:gd name="connsiteY341" fmla="*/ 1283032 h 2200276"/>
              <a:gd name="connsiteX342" fmla="*/ 1472406 w 1568450"/>
              <a:gd name="connsiteY342" fmla="*/ 1277478 h 2200276"/>
              <a:gd name="connsiteX343" fmla="*/ 1479550 w 1568450"/>
              <a:gd name="connsiteY343" fmla="*/ 1271130 h 2200276"/>
              <a:gd name="connsiteX344" fmla="*/ 1490662 w 1568450"/>
              <a:gd name="connsiteY344" fmla="*/ 1259228 h 2200276"/>
              <a:gd name="connsiteX345" fmla="*/ 1497806 w 1568450"/>
              <a:gd name="connsiteY345" fmla="*/ 1248913 h 2200276"/>
              <a:gd name="connsiteX346" fmla="*/ 1503362 w 1568450"/>
              <a:gd name="connsiteY346" fmla="*/ 1239392 h 2200276"/>
              <a:gd name="connsiteX347" fmla="*/ 1508125 w 1568450"/>
              <a:gd name="connsiteY347" fmla="*/ 1230663 h 2200276"/>
              <a:gd name="connsiteX348" fmla="*/ 1512887 w 1568450"/>
              <a:gd name="connsiteY348" fmla="*/ 1223522 h 2200276"/>
              <a:gd name="connsiteX349" fmla="*/ 1517650 w 1568450"/>
              <a:gd name="connsiteY349" fmla="*/ 1217968 h 2200276"/>
              <a:gd name="connsiteX350" fmla="*/ 1524000 w 1568450"/>
              <a:gd name="connsiteY350" fmla="*/ 1213207 h 2200276"/>
              <a:gd name="connsiteX351" fmla="*/ 1528762 w 1568450"/>
              <a:gd name="connsiteY351" fmla="*/ 1209240 h 2200276"/>
              <a:gd name="connsiteX352" fmla="*/ 1534319 w 1568450"/>
              <a:gd name="connsiteY352" fmla="*/ 1208446 h 2200276"/>
              <a:gd name="connsiteX353" fmla="*/ 1539081 w 1568450"/>
              <a:gd name="connsiteY353" fmla="*/ 1206860 h 2200276"/>
              <a:gd name="connsiteX354" fmla="*/ 1544637 w 1568450"/>
              <a:gd name="connsiteY354" fmla="*/ 1206860 h 2200276"/>
              <a:gd name="connsiteX355" fmla="*/ 1549400 w 1568450"/>
              <a:gd name="connsiteY355" fmla="*/ 1208446 h 2200276"/>
              <a:gd name="connsiteX356" fmla="*/ 1554162 w 1568450"/>
              <a:gd name="connsiteY356" fmla="*/ 1210827 h 2200276"/>
              <a:gd name="connsiteX357" fmla="*/ 1557662 w 1568450"/>
              <a:gd name="connsiteY357" fmla="*/ 1213625 h 2200276"/>
              <a:gd name="connsiteX358" fmla="*/ 1558755 w 1568450"/>
              <a:gd name="connsiteY358" fmla="*/ 1214936 h 2200276"/>
              <a:gd name="connsiteX359" fmla="*/ 1561306 w 1568450"/>
              <a:gd name="connsiteY359" fmla="*/ 1218762 h 2200276"/>
              <a:gd name="connsiteX360" fmla="*/ 1563687 w 1568450"/>
              <a:gd name="connsiteY360" fmla="*/ 1223522 h 2200276"/>
              <a:gd name="connsiteX361" fmla="*/ 1566069 w 1568450"/>
              <a:gd name="connsiteY361" fmla="*/ 1230663 h 2200276"/>
              <a:gd name="connsiteX362" fmla="*/ 1567656 w 1568450"/>
              <a:gd name="connsiteY362" fmla="*/ 1239392 h 2200276"/>
              <a:gd name="connsiteX363" fmla="*/ 1567788 w 1568450"/>
              <a:gd name="connsiteY363" fmla="*/ 1240974 h 2200276"/>
              <a:gd name="connsiteX364" fmla="*/ 1567788 w 1568450"/>
              <a:gd name="connsiteY364" fmla="*/ 1248142 h 2200276"/>
              <a:gd name="connsiteX365" fmla="*/ 1567788 w 1568450"/>
              <a:gd name="connsiteY365" fmla="*/ 1883668 h 2200276"/>
              <a:gd name="connsiteX366" fmla="*/ 1568450 w 1568450"/>
              <a:gd name="connsiteY366" fmla="*/ 1883668 h 220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1568450" h="2200276">
                <a:moveTo>
                  <a:pt x="1568450" y="1883668"/>
                </a:moveTo>
                <a:lnTo>
                  <a:pt x="1568450" y="1884478"/>
                </a:lnTo>
                <a:lnTo>
                  <a:pt x="1134269" y="1884478"/>
                </a:lnTo>
                <a:lnTo>
                  <a:pt x="1134269" y="1885271"/>
                </a:lnTo>
                <a:lnTo>
                  <a:pt x="935037" y="1885271"/>
                </a:lnTo>
                <a:lnTo>
                  <a:pt x="925512" y="1886858"/>
                </a:lnTo>
                <a:lnTo>
                  <a:pt x="915987" y="1887651"/>
                </a:lnTo>
                <a:lnTo>
                  <a:pt x="908844" y="1890032"/>
                </a:lnTo>
                <a:lnTo>
                  <a:pt x="903287" y="1893999"/>
                </a:lnTo>
                <a:lnTo>
                  <a:pt x="896937" y="1899553"/>
                </a:lnTo>
                <a:lnTo>
                  <a:pt x="896793" y="1899877"/>
                </a:lnTo>
                <a:lnTo>
                  <a:pt x="893110" y="1899877"/>
                </a:lnTo>
                <a:lnTo>
                  <a:pt x="887412" y="1904860"/>
                </a:lnTo>
                <a:lnTo>
                  <a:pt x="884237" y="1912002"/>
                </a:lnTo>
                <a:lnTo>
                  <a:pt x="884237" y="1919143"/>
                </a:lnTo>
                <a:lnTo>
                  <a:pt x="885031" y="1926284"/>
                </a:lnTo>
                <a:lnTo>
                  <a:pt x="889000" y="1935012"/>
                </a:lnTo>
                <a:lnTo>
                  <a:pt x="896144" y="1942153"/>
                </a:lnTo>
                <a:lnTo>
                  <a:pt x="904081" y="1949294"/>
                </a:lnTo>
                <a:lnTo>
                  <a:pt x="915987" y="1956436"/>
                </a:lnTo>
                <a:lnTo>
                  <a:pt x="925512" y="1961990"/>
                </a:lnTo>
                <a:lnTo>
                  <a:pt x="936625" y="1969131"/>
                </a:lnTo>
                <a:lnTo>
                  <a:pt x="947737" y="1980239"/>
                </a:lnTo>
                <a:lnTo>
                  <a:pt x="954087" y="1987381"/>
                </a:lnTo>
                <a:lnTo>
                  <a:pt x="959644" y="1994522"/>
                </a:lnTo>
                <a:lnTo>
                  <a:pt x="964406" y="2003250"/>
                </a:lnTo>
                <a:lnTo>
                  <a:pt x="969169" y="2011978"/>
                </a:lnTo>
                <a:lnTo>
                  <a:pt x="973931" y="2022293"/>
                </a:lnTo>
                <a:lnTo>
                  <a:pt x="976312" y="2033402"/>
                </a:lnTo>
                <a:lnTo>
                  <a:pt x="978694" y="2045304"/>
                </a:lnTo>
                <a:lnTo>
                  <a:pt x="980281" y="2057999"/>
                </a:lnTo>
                <a:lnTo>
                  <a:pt x="978694" y="2073868"/>
                </a:lnTo>
                <a:lnTo>
                  <a:pt x="976312" y="2088151"/>
                </a:lnTo>
                <a:lnTo>
                  <a:pt x="971550" y="2102433"/>
                </a:lnTo>
                <a:lnTo>
                  <a:pt x="965994" y="2115128"/>
                </a:lnTo>
                <a:lnTo>
                  <a:pt x="957262" y="2127824"/>
                </a:lnTo>
                <a:lnTo>
                  <a:pt x="949325" y="2139726"/>
                </a:lnTo>
                <a:lnTo>
                  <a:pt x="939006" y="2151628"/>
                </a:lnTo>
                <a:lnTo>
                  <a:pt x="927100" y="2162736"/>
                </a:lnTo>
                <a:lnTo>
                  <a:pt x="913606" y="2170671"/>
                </a:lnTo>
                <a:lnTo>
                  <a:pt x="903451" y="2177438"/>
                </a:lnTo>
                <a:lnTo>
                  <a:pt x="893762" y="2182026"/>
                </a:lnTo>
                <a:lnTo>
                  <a:pt x="877887" y="2188374"/>
                </a:lnTo>
                <a:lnTo>
                  <a:pt x="861219" y="2193135"/>
                </a:lnTo>
                <a:lnTo>
                  <a:pt x="843756" y="2196309"/>
                </a:lnTo>
                <a:lnTo>
                  <a:pt x="826294" y="2198689"/>
                </a:lnTo>
                <a:lnTo>
                  <a:pt x="807244" y="2200276"/>
                </a:lnTo>
                <a:lnTo>
                  <a:pt x="788987" y="2198689"/>
                </a:lnTo>
                <a:lnTo>
                  <a:pt x="769937" y="2196309"/>
                </a:lnTo>
                <a:lnTo>
                  <a:pt x="753269" y="2193135"/>
                </a:lnTo>
                <a:lnTo>
                  <a:pt x="736600" y="2188374"/>
                </a:lnTo>
                <a:lnTo>
                  <a:pt x="720725" y="2182026"/>
                </a:lnTo>
                <a:lnTo>
                  <a:pt x="704850" y="2174885"/>
                </a:lnTo>
                <a:lnTo>
                  <a:pt x="692150" y="2165364"/>
                </a:lnTo>
                <a:lnTo>
                  <a:pt x="678656" y="2157429"/>
                </a:lnTo>
                <a:lnTo>
                  <a:pt x="666750" y="2146321"/>
                </a:lnTo>
                <a:lnTo>
                  <a:pt x="656431" y="2134419"/>
                </a:lnTo>
                <a:lnTo>
                  <a:pt x="646906" y="2122517"/>
                </a:lnTo>
                <a:lnTo>
                  <a:pt x="639762" y="2109821"/>
                </a:lnTo>
                <a:lnTo>
                  <a:pt x="633412" y="2097126"/>
                </a:lnTo>
                <a:lnTo>
                  <a:pt x="628650" y="2082844"/>
                </a:lnTo>
                <a:lnTo>
                  <a:pt x="626269" y="2068561"/>
                </a:lnTo>
                <a:lnTo>
                  <a:pt x="625475" y="2052692"/>
                </a:lnTo>
                <a:lnTo>
                  <a:pt x="625475" y="2039997"/>
                </a:lnTo>
                <a:lnTo>
                  <a:pt x="627856" y="2028095"/>
                </a:lnTo>
                <a:lnTo>
                  <a:pt x="631031" y="2016986"/>
                </a:lnTo>
                <a:lnTo>
                  <a:pt x="635000" y="2006671"/>
                </a:lnTo>
                <a:lnTo>
                  <a:pt x="639762" y="1997943"/>
                </a:lnTo>
                <a:lnTo>
                  <a:pt x="645319" y="1989215"/>
                </a:lnTo>
                <a:lnTo>
                  <a:pt x="651669" y="1982074"/>
                </a:lnTo>
                <a:lnTo>
                  <a:pt x="657225" y="1974932"/>
                </a:lnTo>
                <a:lnTo>
                  <a:pt x="669131" y="1963824"/>
                </a:lnTo>
                <a:lnTo>
                  <a:pt x="676469" y="1958322"/>
                </a:lnTo>
                <a:lnTo>
                  <a:pt x="680244" y="1956436"/>
                </a:lnTo>
                <a:lnTo>
                  <a:pt x="683085" y="1954469"/>
                </a:lnTo>
                <a:lnTo>
                  <a:pt x="689769" y="1951129"/>
                </a:lnTo>
                <a:lnTo>
                  <a:pt x="700087" y="1943987"/>
                </a:lnTo>
                <a:lnTo>
                  <a:pt x="709612" y="1936846"/>
                </a:lnTo>
                <a:lnTo>
                  <a:pt x="715962" y="1929705"/>
                </a:lnTo>
                <a:lnTo>
                  <a:pt x="720725" y="1920977"/>
                </a:lnTo>
                <a:lnTo>
                  <a:pt x="721519" y="1913836"/>
                </a:lnTo>
                <a:lnTo>
                  <a:pt x="720725" y="1906695"/>
                </a:lnTo>
                <a:lnTo>
                  <a:pt x="716756" y="1899553"/>
                </a:lnTo>
                <a:lnTo>
                  <a:pt x="711994" y="1893999"/>
                </a:lnTo>
                <a:lnTo>
                  <a:pt x="706437" y="1890032"/>
                </a:lnTo>
                <a:lnTo>
                  <a:pt x="697706" y="1887651"/>
                </a:lnTo>
                <a:lnTo>
                  <a:pt x="689769" y="1886858"/>
                </a:lnTo>
                <a:lnTo>
                  <a:pt x="680244" y="1885271"/>
                </a:lnTo>
                <a:lnTo>
                  <a:pt x="361156" y="1885271"/>
                </a:lnTo>
                <a:lnTo>
                  <a:pt x="361156" y="1884478"/>
                </a:lnTo>
                <a:lnTo>
                  <a:pt x="0" y="1884478"/>
                </a:lnTo>
                <a:lnTo>
                  <a:pt x="0" y="1206066"/>
                </a:lnTo>
                <a:lnTo>
                  <a:pt x="0" y="1196545"/>
                </a:lnTo>
                <a:lnTo>
                  <a:pt x="2381" y="1188610"/>
                </a:lnTo>
                <a:lnTo>
                  <a:pt x="3969" y="1181469"/>
                </a:lnTo>
                <a:lnTo>
                  <a:pt x="7144" y="1176708"/>
                </a:lnTo>
                <a:lnTo>
                  <a:pt x="11112" y="1171947"/>
                </a:lnTo>
                <a:lnTo>
                  <a:pt x="11505" y="1171456"/>
                </a:lnTo>
                <a:lnTo>
                  <a:pt x="15080" y="1170861"/>
                </a:lnTo>
                <a:lnTo>
                  <a:pt x="19843" y="1170861"/>
                </a:lnTo>
                <a:lnTo>
                  <a:pt x="26193" y="1171654"/>
                </a:lnTo>
                <a:lnTo>
                  <a:pt x="30955" y="1174033"/>
                </a:lnTo>
                <a:lnTo>
                  <a:pt x="36511" y="1177998"/>
                </a:lnTo>
                <a:lnTo>
                  <a:pt x="41274" y="1182757"/>
                </a:lnTo>
                <a:lnTo>
                  <a:pt x="46036" y="1188308"/>
                </a:lnTo>
                <a:lnTo>
                  <a:pt x="51593" y="1195446"/>
                </a:lnTo>
                <a:lnTo>
                  <a:pt x="55561" y="1204170"/>
                </a:lnTo>
                <a:lnTo>
                  <a:pt x="61118" y="1213687"/>
                </a:lnTo>
                <a:lnTo>
                  <a:pt x="69849" y="1223997"/>
                </a:lnTo>
                <a:lnTo>
                  <a:pt x="80168" y="1235893"/>
                </a:lnTo>
                <a:lnTo>
                  <a:pt x="86518" y="1241445"/>
                </a:lnTo>
                <a:lnTo>
                  <a:pt x="94455" y="1247790"/>
                </a:lnTo>
                <a:lnTo>
                  <a:pt x="103186" y="1252548"/>
                </a:lnTo>
                <a:lnTo>
                  <a:pt x="112711" y="1257307"/>
                </a:lnTo>
                <a:lnTo>
                  <a:pt x="122236" y="1262065"/>
                </a:lnTo>
                <a:lnTo>
                  <a:pt x="134143" y="1264444"/>
                </a:lnTo>
                <a:lnTo>
                  <a:pt x="146049" y="1266823"/>
                </a:lnTo>
                <a:lnTo>
                  <a:pt x="158749" y="1267617"/>
                </a:lnTo>
                <a:lnTo>
                  <a:pt x="173036" y="1266823"/>
                </a:lnTo>
                <a:lnTo>
                  <a:pt x="188118" y="1262858"/>
                </a:lnTo>
                <a:lnTo>
                  <a:pt x="201611" y="1259686"/>
                </a:lnTo>
                <a:lnTo>
                  <a:pt x="215899" y="1252548"/>
                </a:lnTo>
                <a:lnTo>
                  <a:pt x="227805" y="1245410"/>
                </a:lnTo>
                <a:lnTo>
                  <a:pt x="240505" y="1235893"/>
                </a:lnTo>
                <a:lnTo>
                  <a:pt x="251618" y="1226376"/>
                </a:lnTo>
                <a:lnTo>
                  <a:pt x="252067" y="1225858"/>
                </a:lnTo>
                <a:lnTo>
                  <a:pt x="260350" y="1218762"/>
                </a:lnTo>
                <a:lnTo>
                  <a:pt x="270669" y="1206860"/>
                </a:lnTo>
                <a:lnTo>
                  <a:pt x="280194" y="1194164"/>
                </a:lnTo>
                <a:lnTo>
                  <a:pt x="288131" y="1179882"/>
                </a:lnTo>
                <a:lnTo>
                  <a:pt x="295275" y="1164806"/>
                </a:lnTo>
                <a:lnTo>
                  <a:pt x="302419" y="1148937"/>
                </a:lnTo>
                <a:lnTo>
                  <a:pt x="307181" y="1132274"/>
                </a:lnTo>
                <a:lnTo>
                  <a:pt x="311150" y="1114818"/>
                </a:lnTo>
                <a:lnTo>
                  <a:pt x="313531" y="1096568"/>
                </a:lnTo>
                <a:lnTo>
                  <a:pt x="313531" y="1078318"/>
                </a:lnTo>
                <a:lnTo>
                  <a:pt x="313531" y="1060069"/>
                </a:lnTo>
                <a:lnTo>
                  <a:pt x="311150" y="1041026"/>
                </a:lnTo>
                <a:lnTo>
                  <a:pt x="307181" y="1024363"/>
                </a:lnTo>
                <a:lnTo>
                  <a:pt x="302419" y="1006907"/>
                </a:lnTo>
                <a:lnTo>
                  <a:pt x="295275" y="991037"/>
                </a:lnTo>
                <a:lnTo>
                  <a:pt x="288131" y="975962"/>
                </a:lnTo>
                <a:lnTo>
                  <a:pt x="280194" y="963266"/>
                </a:lnTo>
                <a:lnTo>
                  <a:pt x="270669" y="949777"/>
                </a:lnTo>
                <a:lnTo>
                  <a:pt x="260350" y="937875"/>
                </a:lnTo>
                <a:lnTo>
                  <a:pt x="249237" y="927560"/>
                </a:lnTo>
                <a:lnTo>
                  <a:pt x="237331" y="918039"/>
                </a:lnTo>
                <a:lnTo>
                  <a:pt x="224631" y="910898"/>
                </a:lnTo>
                <a:lnTo>
                  <a:pt x="211137" y="904550"/>
                </a:lnTo>
                <a:lnTo>
                  <a:pt x="196850" y="899789"/>
                </a:lnTo>
                <a:lnTo>
                  <a:pt x="182562" y="897409"/>
                </a:lnTo>
                <a:lnTo>
                  <a:pt x="167481" y="896615"/>
                </a:lnTo>
                <a:lnTo>
                  <a:pt x="153987" y="896615"/>
                </a:lnTo>
                <a:lnTo>
                  <a:pt x="142875" y="898996"/>
                </a:lnTo>
                <a:lnTo>
                  <a:pt x="131762" y="902169"/>
                </a:lnTo>
                <a:lnTo>
                  <a:pt x="121444" y="906137"/>
                </a:lnTo>
                <a:lnTo>
                  <a:pt x="111919" y="910898"/>
                </a:lnTo>
                <a:lnTo>
                  <a:pt x="103187" y="916452"/>
                </a:lnTo>
                <a:lnTo>
                  <a:pt x="96044" y="922800"/>
                </a:lnTo>
                <a:lnTo>
                  <a:pt x="93462" y="924807"/>
                </a:lnTo>
                <a:lnTo>
                  <a:pt x="86518" y="928971"/>
                </a:lnTo>
                <a:lnTo>
                  <a:pt x="80168" y="936108"/>
                </a:lnTo>
                <a:lnTo>
                  <a:pt x="69849" y="946418"/>
                </a:lnTo>
                <a:lnTo>
                  <a:pt x="61118" y="957522"/>
                </a:lnTo>
                <a:lnTo>
                  <a:pt x="55561" y="967039"/>
                </a:lnTo>
                <a:lnTo>
                  <a:pt x="51593" y="974969"/>
                </a:lnTo>
                <a:lnTo>
                  <a:pt x="46036" y="982107"/>
                </a:lnTo>
                <a:lnTo>
                  <a:pt x="41562" y="987323"/>
                </a:lnTo>
                <a:lnTo>
                  <a:pt x="38894" y="988657"/>
                </a:lnTo>
                <a:lnTo>
                  <a:pt x="34131" y="991037"/>
                </a:lnTo>
                <a:lnTo>
                  <a:pt x="28575" y="992624"/>
                </a:lnTo>
                <a:lnTo>
                  <a:pt x="23812" y="992624"/>
                </a:lnTo>
                <a:lnTo>
                  <a:pt x="19050" y="991037"/>
                </a:lnTo>
                <a:lnTo>
                  <a:pt x="14287" y="988657"/>
                </a:lnTo>
                <a:lnTo>
                  <a:pt x="11112" y="985483"/>
                </a:lnTo>
                <a:lnTo>
                  <a:pt x="7144" y="980722"/>
                </a:lnTo>
                <a:lnTo>
                  <a:pt x="3969" y="975168"/>
                </a:lnTo>
                <a:lnTo>
                  <a:pt x="2381" y="968027"/>
                </a:lnTo>
                <a:lnTo>
                  <a:pt x="0" y="959299"/>
                </a:lnTo>
                <a:lnTo>
                  <a:pt x="0" y="951364"/>
                </a:lnTo>
                <a:lnTo>
                  <a:pt x="0" y="314212"/>
                </a:lnTo>
                <a:lnTo>
                  <a:pt x="434181" y="314212"/>
                </a:lnTo>
                <a:lnTo>
                  <a:pt x="434181" y="312625"/>
                </a:lnTo>
                <a:lnTo>
                  <a:pt x="633412" y="312625"/>
                </a:lnTo>
                <a:lnTo>
                  <a:pt x="642937" y="312625"/>
                </a:lnTo>
                <a:lnTo>
                  <a:pt x="652462" y="310244"/>
                </a:lnTo>
                <a:lnTo>
                  <a:pt x="659606" y="307864"/>
                </a:lnTo>
                <a:lnTo>
                  <a:pt x="665956" y="304690"/>
                </a:lnTo>
                <a:lnTo>
                  <a:pt x="671512" y="299929"/>
                </a:lnTo>
                <a:lnTo>
                  <a:pt x="673894" y="292788"/>
                </a:lnTo>
                <a:lnTo>
                  <a:pt x="675481" y="285647"/>
                </a:lnTo>
                <a:lnTo>
                  <a:pt x="673894" y="277712"/>
                </a:lnTo>
                <a:lnTo>
                  <a:pt x="670719" y="270571"/>
                </a:lnTo>
                <a:lnTo>
                  <a:pt x="663575" y="261843"/>
                </a:lnTo>
                <a:lnTo>
                  <a:pt x="654050" y="254702"/>
                </a:lnTo>
                <a:lnTo>
                  <a:pt x="642937" y="249148"/>
                </a:lnTo>
                <a:lnTo>
                  <a:pt x="632619" y="242800"/>
                </a:lnTo>
                <a:lnTo>
                  <a:pt x="623094" y="234865"/>
                </a:lnTo>
                <a:lnTo>
                  <a:pt x="611187" y="223757"/>
                </a:lnTo>
                <a:lnTo>
                  <a:pt x="605631" y="216616"/>
                </a:lnTo>
                <a:lnTo>
                  <a:pt x="599281" y="209475"/>
                </a:lnTo>
                <a:lnTo>
                  <a:pt x="593725" y="201540"/>
                </a:lnTo>
                <a:lnTo>
                  <a:pt x="588962" y="192018"/>
                </a:lnTo>
                <a:lnTo>
                  <a:pt x="584994" y="182497"/>
                </a:lnTo>
                <a:lnTo>
                  <a:pt x="581819" y="170595"/>
                </a:lnTo>
                <a:lnTo>
                  <a:pt x="580231" y="158693"/>
                </a:lnTo>
                <a:lnTo>
                  <a:pt x="579437" y="145997"/>
                </a:lnTo>
                <a:lnTo>
                  <a:pt x="580231" y="131715"/>
                </a:lnTo>
                <a:lnTo>
                  <a:pt x="582612" y="115846"/>
                </a:lnTo>
                <a:lnTo>
                  <a:pt x="587375" y="101563"/>
                </a:lnTo>
                <a:lnTo>
                  <a:pt x="593725" y="88868"/>
                </a:lnTo>
                <a:lnTo>
                  <a:pt x="600869" y="75379"/>
                </a:lnTo>
                <a:lnTo>
                  <a:pt x="609600" y="64271"/>
                </a:lnTo>
                <a:lnTo>
                  <a:pt x="620712" y="53162"/>
                </a:lnTo>
                <a:lnTo>
                  <a:pt x="632619" y="42847"/>
                </a:lnTo>
                <a:lnTo>
                  <a:pt x="645319" y="33326"/>
                </a:lnTo>
                <a:lnTo>
                  <a:pt x="659606" y="24598"/>
                </a:lnTo>
                <a:lnTo>
                  <a:pt x="673894" y="17456"/>
                </a:lnTo>
                <a:lnTo>
                  <a:pt x="690562" y="11902"/>
                </a:lnTo>
                <a:lnTo>
                  <a:pt x="707231" y="5554"/>
                </a:lnTo>
                <a:lnTo>
                  <a:pt x="723900" y="2381"/>
                </a:lnTo>
                <a:lnTo>
                  <a:pt x="742950" y="794"/>
                </a:lnTo>
                <a:lnTo>
                  <a:pt x="760412" y="0"/>
                </a:lnTo>
                <a:lnTo>
                  <a:pt x="779462" y="794"/>
                </a:lnTo>
                <a:lnTo>
                  <a:pt x="797719" y="2381"/>
                </a:lnTo>
                <a:lnTo>
                  <a:pt x="809516" y="4525"/>
                </a:lnTo>
                <a:lnTo>
                  <a:pt x="821531" y="9104"/>
                </a:lnTo>
                <a:lnTo>
                  <a:pt x="836612" y="14663"/>
                </a:lnTo>
                <a:lnTo>
                  <a:pt x="852487" y="21811"/>
                </a:lnTo>
                <a:lnTo>
                  <a:pt x="866775" y="30547"/>
                </a:lnTo>
                <a:lnTo>
                  <a:pt x="879475" y="40076"/>
                </a:lnTo>
                <a:lnTo>
                  <a:pt x="891381" y="50400"/>
                </a:lnTo>
                <a:lnTo>
                  <a:pt x="900906" y="61518"/>
                </a:lnTo>
                <a:lnTo>
                  <a:pt x="910431" y="72637"/>
                </a:lnTo>
                <a:lnTo>
                  <a:pt x="919162" y="86137"/>
                </a:lnTo>
                <a:lnTo>
                  <a:pt x="924718" y="98844"/>
                </a:lnTo>
                <a:lnTo>
                  <a:pt x="929481" y="113138"/>
                </a:lnTo>
                <a:lnTo>
                  <a:pt x="931862" y="127433"/>
                </a:lnTo>
                <a:lnTo>
                  <a:pt x="933450" y="143316"/>
                </a:lnTo>
                <a:lnTo>
                  <a:pt x="931862" y="156022"/>
                </a:lnTo>
                <a:lnTo>
                  <a:pt x="929481" y="167935"/>
                </a:lnTo>
                <a:lnTo>
                  <a:pt x="927100" y="179847"/>
                </a:lnTo>
                <a:lnTo>
                  <a:pt x="922337" y="189377"/>
                </a:lnTo>
                <a:lnTo>
                  <a:pt x="917575" y="198907"/>
                </a:lnTo>
                <a:lnTo>
                  <a:pt x="912812" y="206848"/>
                </a:lnTo>
                <a:lnTo>
                  <a:pt x="907256" y="213995"/>
                </a:lnTo>
                <a:lnTo>
                  <a:pt x="900906" y="221143"/>
                </a:lnTo>
                <a:lnTo>
                  <a:pt x="889000" y="232261"/>
                </a:lnTo>
                <a:lnTo>
                  <a:pt x="878681" y="240202"/>
                </a:lnTo>
                <a:lnTo>
                  <a:pt x="869156" y="246556"/>
                </a:lnTo>
                <a:lnTo>
                  <a:pt x="857250" y="252115"/>
                </a:lnTo>
                <a:lnTo>
                  <a:pt x="848518" y="259262"/>
                </a:lnTo>
                <a:lnTo>
                  <a:pt x="841375" y="267998"/>
                </a:lnTo>
                <a:lnTo>
                  <a:pt x="838200" y="275145"/>
                </a:lnTo>
                <a:lnTo>
                  <a:pt x="835818" y="283087"/>
                </a:lnTo>
                <a:lnTo>
                  <a:pt x="836612" y="290234"/>
                </a:lnTo>
                <a:lnTo>
                  <a:pt x="840581" y="296587"/>
                </a:lnTo>
                <a:lnTo>
                  <a:pt x="846137" y="302146"/>
                </a:lnTo>
                <a:lnTo>
                  <a:pt x="853488" y="302146"/>
                </a:lnTo>
                <a:lnTo>
                  <a:pt x="856456" y="304690"/>
                </a:lnTo>
                <a:lnTo>
                  <a:pt x="862806" y="307864"/>
                </a:lnTo>
                <a:lnTo>
                  <a:pt x="869950" y="310244"/>
                </a:lnTo>
                <a:lnTo>
                  <a:pt x="879475" y="312625"/>
                </a:lnTo>
                <a:lnTo>
                  <a:pt x="889000" y="312625"/>
                </a:lnTo>
                <a:lnTo>
                  <a:pt x="1208087" y="312626"/>
                </a:lnTo>
                <a:lnTo>
                  <a:pt x="1208087" y="314213"/>
                </a:lnTo>
                <a:lnTo>
                  <a:pt x="1565417" y="314213"/>
                </a:lnTo>
                <a:lnTo>
                  <a:pt x="1567788" y="994249"/>
                </a:lnTo>
                <a:lnTo>
                  <a:pt x="1566200" y="1002183"/>
                </a:lnTo>
                <a:lnTo>
                  <a:pt x="1565406" y="1010910"/>
                </a:lnTo>
                <a:lnTo>
                  <a:pt x="1563024" y="1018051"/>
                </a:lnTo>
                <a:lnTo>
                  <a:pt x="1560642" y="1022812"/>
                </a:lnTo>
                <a:lnTo>
                  <a:pt x="1556671" y="1027572"/>
                </a:lnTo>
                <a:lnTo>
                  <a:pt x="1551907" y="1030746"/>
                </a:lnTo>
                <a:lnTo>
                  <a:pt x="1548730" y="1033126"/>
                </a:lnTo>
                <a:lnTo>
                  <a:pt x="1543966" y="1034713"/>
                </a:lnTo>
                <a:lnTo>
                  <a:pt x="1537613" y="1034713"/>
                </a:lnTo>
                <a:lnTo>
                  <a:pt x="1532849" y="1033126"/>
                </a:lnTo>
                <a:lnTo>
                  <a:pt x="1528226" y="1031146"/>
                </a:lnTo>
                <a:lnTo>
                  <a:pt x="1524000" y="1028330"/>
                </a:lnTo>
                <a:lnTo>
                  <a:pt x="1519264" y="1024778"/>
                </a:lnTo>
                <a:lnTo>
                  <a:pt x="1517289" y="1023087"/>
                </a:lnTo>
                <a:lnTo>
                  <a:pt x="1512887" y="1017222"/>
                </a:lnTo>
                <a:lnTo>
                  <a:pt x="1512079" y="1016278"/>
                </a:lnTo>
                <a:lnTo>
                  <a:pt x="1507438" y="1009324"/>
                </a:lnTo>
                <a:lnTo>
                  <a:pt x="1503467" y="1001389"/>
                </a:lnTo>
                <a:lnTo>
                  <a:pt x="1497909" y="991868"/>
                </a:lnTo>
                <a:lnTo>
                  <a:pt x="1489174" y="980761"/>
                </a:lnTo>
                <a:lnTo>
                  <a:pt x="1478851" y="969653"/>
                </a:lnTo>
                <a:lnTo>
                  <a:pt x="1471704" y="963306"/>
                </a:lnTo>
                <a:lnTo>
                  <a:pt x="1464557" y="958545"/>
                </a:lnTo>
                <a:lnTo>
                  <a:pt x="1460480" y="955952"/>
                </a:lnTo>
                <a:lnTo>
                  <a:pt x="1457325" y="953745"/>
                </a:lnTo>
                <a:lnTo>
                  <a:pt x="1455842" y="953003"/>
                </a:lnTo>
                <a:lnTo>
                  <a:pt x="1455822" y="952991"/>
                </a:lnTo>
                <a:lnTo>
                  <a:pt x="1446293" y="948231"/>
                </a:lnTo>
                <a:lnTo>
                  <a:pt x="1436764" y="944264"/>
                </a:lnTo>
                <a:lnTo>
                  <a:pt x="1424853" y="941090"/>
                </a:lnTo>
                <a:lnTo>
                  <a:pt x="1412942" y="938710"/>
                </a:lnTo>
                <a:lnTo>
                  <a:pt x="1400236" y="938710"/>
                </a:lnTo>
                <a:lnTo>
                  <a:pt x="1385149" y="938710"/>
                </a:lnTo>
                <a:lnTo>
                  <a:pt x="1370855" y="941883"/>
                </a:lnTo>
                <a:lnTo>
                  <a:pt x="1356562" y="946644"/>
                </a:lnTo>
                <a:lnTo>
                  <a:pt x="1343062" y="952991"/>
                </a:lnTo>
                <a:lnTo>
                  <a:pt x="1330357" y="960132"/>
                </a:lnTo>
                <a:lnTo>
                  <a:pt x="1318446" y="969653"/>
                </a:lnTo>
                <a:lnTo>
                  <a:pt x="1307328" y="979967"/>
                </a:lnTo>
                <a:lnTo>
                  <a:pt x="1297005" y="991868"/>
                </a:lnTo>
                <a:lnTo>
                  <a:pt x="1287476" y="1003770"/>
                </a:lnTo>
                <a:lnTo>
                  <a:pt x="1279536" y="1018051"/>
                </a:lnTo>
                <a:lnTo>
                  <a:pt x="1272389" y="1033126"/>
                </a:lnTo>
                <a:lnTo>
                  <a:pt x="1265242" y="1048994"/>
                </a:lnTo>
                <a:lnTo>
                  <a:pt x="1260477" y="1065656"/>
                </a:lnTo>
                <a:lnTo>
                  <a:pt x="1256507" y="1083111"/>
                </a:lnTo>
                <a:lnTo>
                  <a:pt x="1254125" y="1100567"/>
                </a:lnTo>
                <a:lnTo>
                  <a:pt x="1254125" y="1119609"/>
                </a:lnTo>
                <a:lnTo>
                  <a:pt x="1254125" y="1120372"/>
                </a:lnTo>
                <a:lnTo>
                  <a:pt x="1254125" y="1138650"/>
                </a:lnTo>
                <a:lnTo>
                  <a:pt x="1256507" y="1156899"/>
                </a:lnTo>
                <a:lnTo>
                  <a:pt x="1260477" y="1174354"/>
                </a:lnTo>
                <a:lnTo>
                  <a:pt x="1265242" y="1191016"/>
                </a:lnTo>
                <a:lnTo>
                  <a:pt x="1269415" y="1199816"/>
                </a:lnTo>
                <a:lnTo>
                  <a:pt x="1272381" y="1206860"/>
                </a:lnTo>
                <a:lnTo>
                  <a:pt x="1275940" y="1213973"/>
                </a:lnTo>
                <a:lnTo>
                  <a:pt x="1279536" y="1221959"/>
                </a:lnTo>
                <a:lnTo>
                  <a:pt x="1287476" y="1236241"/>
                </a:lnTo>
                <a:lnTo>
                  <a:pt x="1297005" y="1248935"/>
                </a:lnTo>
                <a:lnTo>
                  <a:pt x="1301770" y="1254062"/>
                </a:lnTo>
                <a:lnTo>
                  <a:pt x="1307306" y="1261609"/>
                </a:lnTo>
                <a:lnTo>
                  <a:pt x="1319212" y="1272717"/>
                </a:lnTo>
                <a:lnTo>
                  <a:pt x="1331119" y="1280652"/>
                </a:lnTo>
                <a:lnTo>
                  <a:pt x="1344612" y="1289380"/>
                </a:lnTo>
                <a:lnTo>
                  <a:pt x="1357312" y="1294934"/>
                </a:lnTo>
                <a:lnTo>
                  <a:pt x="1371600" y="1299695"/>
                </a:lnTo>
                <a:lnTo>
                  <a:pt x="1385887" y="1302075"/>
                </a:lnTo>
                <a:lnTo>
                  <a:pt x="1401762" y="1303662"/>
                </a:lnTo>
                <a:lnTo>
                  <a:pt x="1414462" y="1302075"/>
                </a:lnTo>
                <a:lnTo>
                  <a:pt x="1426369" y="1299695"/>
                </a:lnTo>
                <a:lnTo>
                  <a:pt x="1436687" y="1297314"/>
                </a:lnTo>
                <a:lnTo>
                  <a:pt x="1447800" y="1292554"/>
                </a:lnTo>
                <a:lnTo>
                  <a:pt x="1457325" y="1287793"/>
                </a:lnTo>
                <a:lnTo>
                  <a:pt x="1465262" y="1283032"/>
                </a:lnTo>
                <a:lnTo>
                  <a:pt x="1472406" y="1277478"/>
                </a:lnTo>
                <a:lnTo>
                  <a:pt x="1479550" y="1271130"/>
                </a:lnTo>
                <a:lnTo>
                  <a:pt x="1490662" y="1259228"/>
                </a:lnTo>
                <a:lnTo>
                  <a:pt x="1497806" y="1248913"/>
                </a:lnTo>
                <a:lnTo>
                  <a:pt x="1503362" y="1239392"/>
                </a:lnTo>
                <a:lnTo>
                  <a:pt x="1508125" y="1230663"/>
                </a:lnTo>
                <a:lnTo>
                  <a:pt x="1512887" y="1223522"/>
                </a:lnTo>
                <a:lnTo>
                  <a:pt x="1517650" y="1217968"/>
                </a:lnTo>
                <a:lnTo>
                  <a:pt x="1524000" y="1213207"/>
                </a:lnTo>
                <a:lnTo>
                  <a:pt x="1528762" y="1209240"/>
                </a:lnTo>
                <a:lnTo>
                  <a:pt x="1534319" y="1208446"/>
                </a:lnTo>
                <a:lnTo>
                  <a:pt x="1539081" y="1206860"/>
                </a:lnTo>
                <a:lnTo>
                  <a:pt x="1544637" y="1206860"/>
                </a:lnTo>
                <a:lnTo>
                  <a:pt x="1549400" y="1208446"/>
                </a:lnTo>
                <a:lnTo>
                  <a:pt x="1554162" y="1210827"/>
                </a:lnTo>
                <a:lnTo>
                  <a:pt x="1557662" y="1213625"/>
                </a:lnTo>
                <a:lnTo>
                  <a:pt x="1558755" y="1214936"/>
                </a:lnTo>
                <a:lnTo>
                  <a:pt x="1561306" y="1218762"/>
                </a:lnTo>
                <a:lnTo>
                  <a:pt x="1563687" y="1223522"/>
                </a:lnTo>
                <a:lnTo>
                  <a:pt x="1566069" y="1230663"/>
                </a:lnTo>
                <a:lnTo>
                  <a:pt x="1567656" y="1239392"/>
                </a:lnTo>
                <a:lnTo>
                  <a:pt x="1567788" y="1240974"/>
                </a:lnTo>
                <a:lnTo>
                  <a:pt x="1567788" y="1248142"/>
                </a:lnTo>
                <a:lnTo>
                  <a:pt x="1567788" y="1883668"/>
                </a:lnTo>
                <a:lnTo>
                  <a:pt x="1568450" y="1883668"/>
                </a:lnTo>
                <a:close/>
              </a:path>
            </a:pathLst>
          </a:custGeom>
          <a:ln>
            <a:solidFill>
              <a:schemeClr val="tx1">
                <a:lumMod val="50000"/>
                <a:lumOff val="50000"/>
              </a:schemeClr>
            </a:solidFill>
          </a:ln>
        </p:spPr>
      </p:pic>
      <p:pic>
        <p:nvPicPr>
          <p:cNvPr id="8" name="Picture 7">
            <a:extLst>
              <a:ext uri="{FF2B5EF4-FFF2-40B4-BE49-F238E27FC236}">
                <a16:creationId xmlns:a16="http://schemas.microsoft.com/office/drawing/2014/main" id="{67AA08C2-179C-448B-B39A-D7B31199F195}"/>
              </a:ext>
            </a:extLst>
          </p:cNvPr>
          <p:cNvPicPr>
            <a:picLocks noChangeAspect="1"/>
          </p:cNvPicPr>
          <p:nvPr/>
        </p:nvPicPr>
        <p:blipFill rotWithShape="1">
          <a:blip r:embed="rId2"/>
          <a:srcRect l="37966" t="50000" r="32947" b="20214"/>
          <a:stretch/>
        </p:blipFill>
        <p:spPr>
          <a:xfrm rot="1971481">
            <a:off x="10433917" y="2022181"/>
            <a:ext cx="1456941" cy="2337442"/>
          </a:xfrm>
          <a:custGeom>
            <a:avLst/>
            <a:gdLst>
              <a:gd name="connsiteX0" fmla="*/ 1568450 w 1568450"/>
              <a:gd name="connsiteY0" fmla="*/ 10886 h 1896949"/>
              <a:gd name="connsiteX1" fmla="*/ 1568450 w 1568450"/>
              <a:gd name="connsiteY1" fmla="*/ 13167 h 1896949"/>
              <a:gd name="connsiteX2" fmla="*/ 1562924 w 1568450"/>
              <a:gd name="connsiteY2" fmla="*/ 13167 h 1896949"/>
              <a:gd name="connsiteX3" fmla="*/ 1565306 w 1568450"/>
              <a:gd name="connsiteY3" fmla="*/ 696298 h 1896949"/>
              <a:gd name="connsiteX4" fmla="*/ 1563718 w 1568450"/>
              <a:gd name="connsiteY4" fmla="*/ 704232 h 1896949"/>
              <a:gd name="connsiteX5" fmla="*/ 1562924 w 1568450"/>
              <a:gd name="connsiteY5" fmla="*/ 712960 h 1896949"/>
              <a:gd name="connsiteX6" fmla="*/ 1560542 w 1568450"/>
              <a:gd name="connsiteY6" fmla="*/ 720100 h 1896949"/>
              <a:gd name="connsiteX7" fmla="*/ 1558160 w 1568450"/>
              <a:gd name="connsiteY7" fmla="*/ 724861 h 1896949"/>
              <a:gd name="connsiteX8" fmla="*/ 1557863 w 1568450"/>
              <a:gd name="connsiteY8" fmla="*/ 725218 h 1896949"/>
              <a:gd name="connsiteX9" fmla="*/ 1554162 w 1568450"/>
              <a:gd name="connsiteY9" fmla="*/ 728177 h 1896949"/>
              <a:gd name="connsiteX10" fmla="*/ 1549400 w 1568450"/>
              <a:gd name="connsiteY10" fmla="*/ 730557 h 1896949"/>
              <a:gd name="connsiteX11" fmla="*/ 1544637 w 1568450"/>
              <a:gd name="connsiteY11" fmla="*/ 732144 h 1896949"/>
              <a:gd name="connsiteX12" fmla="*/ 1539081 w 1568450"/>
              <a:gd name="connsiteY12" fmla="*/ 732144 h 1896949"/>
              <a:gd name="connsiteX13" fmla="*/ 1534319 w 1568450"/>
              <a:gd name="connsiteY13" fmla="*/ 730557 h 1896949"/>
              <a:gd name="connsiteX14" fmla="*/ 1528762 w 1568450"/>
              <a:gd name="connsiteY14" fmla="*/ 728177 h 1896949"/>
              <a:gd name="connsiteX15" fmla="*/ 1524000 w 1568450"/>
              <a:gd name="connsiteY15" fmla="*/ 725003 h 1896949"/>
              <a:gd name="connsiteX16" fmla="*/ 1517650 w 1568450"/>
              <a:gd name="connsiteY16" fmla="*/ 720242 h 1896949"/>
              <a:gd name="connsiteX17" fmla="*/ 1512887 w 1568450"/>
              <a:gd name="connsiteY17" fmla="*/ 713895 h 1896949"/>
              <a:gd name="connsiteX18" fmla="*/ 1508125 w 1568450"/>
              <a:gd name="connsiteY18" fmla="*/ 708341 h 1896949"/>
              <a:gd name="connsiteX19" fmla="*/ 1503362 w 1568450"/>
              <a:gd name="connsiteY19" fmla="*/ 699612 h 1896949"/>
              <a:gd name="connsiteX20" fmla="*/ 1497806 w 1568450"/>
              <a:gd name="connsiteY20" fmla="*/ 689297 h 1896949"/>
              <a:gd name="connsiteX21" fmla="*/ 1490662 w 1568450"/>
              <a:gd name="connsiteY21" fmla="*/ 679776 h 1896949"/>
              <a:gd name="connsiteX22" fmla="*/ 1479550 w 1568450"/>
              <a:gd name="connsiteY22" fmla="*/ 667874 h 1896949"/>
              <a:gd name="connsiteX23" fmla="*/ 1472406 w 1568450"/>
              <a:gd name="connsiteY23" fmla="*/ 662320 h 1896949"/>
              <a:gd name="connsiteX24" fmla="*/ 1465262 w 1568450"/>
              <a:gd name="connsiteY24" fmla="*/ 655972 h 1896949"/>
              <a:gd name="connsiteX25" fmla="*/ 1457325 w 1568450"/>
              <a:gd name="connsiteY25" fmla="*/ 650418 h 1896949"/>
              <a:gd name="connsiteX26" fmla="*/ 1447800 w 1568450"/>
              <a:gd name="connsiteY26" fmla="*/ 645657 h 1896949"/>
              <a:gd name="connsiteX27" fmla="*/ 1436687 w 1568450"/>
              <a:gd name="connsiteY27" fmla="*/ 641690 h 1896949"/>
              <a:gd name="connsiteX28" fmla="*/ 1426369 w 1568450"/>
              <a:gd name="connsiteY28" fmla="*/ 638516 h 1896949"/>
              <a:gd name="connsiteX29" fmla="*/ 1414462 w 1568450"/>
              <a:gd name="connsiteY29" fmla="*/ 636135 h 1896949"/>
              <a:gd name="connsiteX30" fmla="*/ 1401762 w 1568450"/>
              <a:gd name="connsiteY30" fmla="*/ 636135 h 1896949"/>
              <a:gd name="connsiteX31" fmla="*/ 1385887 w 1568450"/>
              <a:gd name="connsiteY31" fmla="*/ 636929 h 1896949"/>
              <a:gd name="connsiteX32" fmla="*/ 1371600 w 1568450"/>
              <a:gd name="connsiteY32" fmla="*/ 639309 h 1896949"/>
              <a:gd name="connsiteX33" fmla="*/ 1357312 w 1568450"/>
              <a:gd name="connsiteY33" fmla="*/ 644070 h 1896949"/>
              <a:gd name="connsiteX34" fmla="*/ 1344612 w 1568450"/>
              <a:gd name="connsiteY34" fmla="*/ 650418 h 1896949"/>
              <a:gd name="connsiteX35" fmla="*/ 1331119 w 1568450"/>
              <a:gd name="connsiteY35" fmla="*/ 657559 h 1896949"/>
              <a:gd name="connsiteX36" fmla="*/ 1319212 w 1568450"/>
              <a:gd name="connsiteY36" fmla="*/ 667080 h 1896949"/>
              <a:gd name="connsiteX37" fmla="*/ 1307306 w 1568450"/>
              <a:gd name="connsiteY37" fmla="*/ 677395 h 1896949"/>
              <a:gd name="connsiteX38" fmla="*/ 1298817 w 1568450"/>
              <a:gd name="connsiteY38" fmla="*/ 688967 h 1896949"/>
              <a:gd name="connsiteX39" fmla="*/ 1294523 w 1568450"/>
              <a:gd name="connsiteY39" fmla="*/ 693918 h 1896949"/>
              <a:gd name="connsiteX40" fmla="*/ 1284994 w 1568450"/>
              <a:gd name="connsiteY40" fmla="*/ 705819 h 1896949"/>
              <a:gd name="connsiteX41" fmla="*/ 1277054 w 1568450"/>
              <a:gd name="connsiteY41" fmla="*/ 720100 h 1896949"/>
              <a:gd name="connsiteX42" fmla="*/ 1269907 w 1568450"/>
              <a:gd name="connsiteY42" fmla="*/ 735175 h 1896949"/>
              <a:gd name="connsiteX43" fmla="*/ 1262760 w 1568450"/>
              <a:gd name="connsiteY43" fmla="*/ 751043 h 1896949"/>
              <a:gd name="connsiteX44" fmla="*/ 1257995 w 1568450"/>
              <a:gd name="connsiteY44" fmla="*/ 767705 h 1896949"/>
              <a:gd name="connsiteX45" fmla="*/ 1254025 w 1568450"/>
              <a:gd name="connsiteY45" fmla="*/ 785160 h 1896949"/>
              <a:gd name="connsiteX46" fmla="*/ 1251643 w 1568450"/>
              <a:gd name="connsiteY46" fmla="*/ 802616 h 1896949"/>
              <a:gd name="connsiteX47" fmla="*/ 1251643 w 1568450"/>
              <a:gd name="connsiteY47" fmla="*/ 821658 h 1896949"/>
              <a:gd name="connsiteX48" fmla="*/ 1251643 w 1568450"/>
              <a:gd name="connsiteY48" fmla="*/ 840699 h 1896949"/>
              <a:gd name="connsiteX49" fmla="*/ 1254025 w 1568450"/>
              <a:gd name="connsiteY49" fmla="*/ 858948 h 1896949"/>
              <a:gd name="connsiteX50" fmla="*/ 1257995 w 1568450"/>
              <a:gd name="connsiteY50" fmla="*/ 876403 h 1896949"/>
              <a:gd name="connsiteX51" fmla="*/ 1262760 w 1568450"/>
              <a:gd name="connsiteY51" fmla="*/ 893065 h 1896949"/>
              <a:gd name="connsiteX52" fmla="*/ 1269907 w 1568450"/>
              <a:gd name="connsiteY52" fmla="*/ 908140 h 1896949"/>
              <a:gd name="connsiteX53" fmla="*/ 1277054 w 1568450"/>
              <a:gd name="connsiteY53" fmla="*/ 924008 h 1896949"/>
              <a:gd name="connsiteX54" fmla="*/ 1284994 w 1568450"/>
              <a:gd name="connsiteY54" fmla="*/ 938290 h 1896949"/>
              <a:gd name="connsiteX55" fmla="*/ 1294523 w 1568450"/>
              <a:gd name="connsiteY55" fmla="*/ 950984 h 1896949"/>
              <a:gd name="connsiteX56" fmla="*/ 1304846 w 1568450"/>
              <a:gd name="connsiteY56" fmla="*/ 962092 h 1896949"/>
              <a:gd name="connsiteX57" fmla="*/ 1315964 w 1568450"/>
              <a:gd name="connsiteY57" fmla="*/ 972407 h 1896949"/>
              <a:gd name="connsiteX58" fmla="*/ 1327875 w 1568450"/>
              <a:gd name="connsiteY58" fmla="*/ 981928 h 1896949"/>
              <a:gd name="connsiteX59" fmla="*/ 1340580 w 1568450"/>
              <a:gd name="connsiteY59" fmla="*/ 989068 h 1896949"/>
              <a:gd name="connsiteX60" fmla="*/ 1354080 w 1568450"/>
              <a:gd name="connsiteY60" fmla="*/ 996209 h 1896949"/>
              <a:gd name="connsiteX61" fmla="*/ 1368373 w 1568450"/>
              <a:gd name="connsiteY61" fmla="*/ 1000176 h 1896949"/>
              <a:gd name="connsiteX62" fmla="*/ 1382667 w 1568450"/>
              <a:gd name="connsiteY62" fmla="*/ 1003350 h 1896949"/>
              <a:gd name="connsiteX63" fmla="*/ 1397754 w 1568450"/>
              <a:gd name="connsiteY63" fmla="*/ 1004937 h 1896949"/>
              <a:gd name="connsiteX64" fmla="*/ 1410460 w 1568450"/>
              <a:gd name="connsiteY64" fmla="*/ 1003350 h 1896949"/>
              <a:gd name="connsiteX65" fmla="*/ 1422371 w 1568450"/>
              <a:gd name="connsiteY65" fmla="*/ 1000970 h 1896949"/>
              <a:gd name="connsiteX66" fmla="*/ 1434282 w 1568450"/>
              <a:gd name="connsiteY66" fmla="*/ 998589 h 1896949"/>
              <a:gd name="connsiteX67" fmla="*/ 1443811 w 1568450"/>
              <a:gd name="connsiteY67" fmla="*/ 993829 h 1896949"/>
              <a:gd name="connsiteX68" fmla="*/ 1453340 w 1568450"/>
              <a:gd name="connsiteY68" fmla="*/ 989068 h 1896949"/>
              <a:gd name="connsiteX69" fmla="*/ 1462075 w 1568450"/>
              <a:gd name="connsiteY69" fmla="*/ 984308 h 1896949"/>
              <a:gd name="connsiteX70" fmla="*/ 1469222 w 1568450"/>
              <a:gd name="connsiteY70" fmla="*/ 978754 h 1896949"/>
              <a:gd name="connsiteX71" fmla="*/ 1476369 w 1568450"/>
              <a:gd name="connsiteY71" fmla="*/ 972407 h 1896949"/>
              <a:gd name="connsiteX72" fmla="*/ 1486692 w 1568450"/>
              <a:gd name="connsiteY72" fmla="*/ 960505 h 1896949"/>
              <a:gd name="connsiteX73" fmla="*/ 1489900 w 1568450"/>
              <a:gd name="connsiteY73" fmla="*/ 956718 h 1896949"/>
              <a:gd name="connsiteX74" fmla="*/ 1490662 w 1568450"/>
              <a:gd name="connsiteY74" fmla="*/ 955901 h 1896949"/>
              <a:gd name="connsiteX75" fmla="*/ 1490980 w 1568450"/>
              <a:gd name="connsiteY75" fmla="*/ 955442 h 1896949"/>
              <a:gd name="connsiteX76" fmla="*/ 1495427 w 1568450"/>
              <a:gd name="connsiteY76" fmla="*/ 950191 h 1896949"/>
              <a:gd name="connsiteX77" fmla="*/ 1500985 w 1568450"/>
              <a:gd name="connsiteY77" fmla="*/ 940670 h 1896949"/>
              <a:gd name="connsiteX78" fmla="*/ 1502083 w 1568450"/>
              <a:gd name="connsiteY78" fmla="*/ 938257 h 1896949"/>
              <a:gd name="connsiteX79" fmla="*/ 1503362 w 1568450"/>
              <a:gd name="connsiteY79" fmla="*/ 936065 h 1896949"/>
              <a:gd name="connsiteX80" fmla="*/ 1508125 w 1568450"/>
              <a:gd name="connsiteY80" fmla="*/ 927336 h 1896949"/>
              <a:gd name="connsiteX81" fmla="*/ 1510004 w 1568450"/>
              <a:gd name="connsiteY81" fmla="*/ 924518 h 1896949"/>
              <a:gd name="connsiteX82" fmla="*/ 1515279 w 1568450"/>
              <a:gd name="connsiteY82" fmla="*/ 919248 h 1896949"/>
              <a:gd name="connsiteX83" fmla="*/ 1520043 w 1568450"/>
              <a:gd name="connsiteY83" fmla="*/ 914487 h 1896949"/>
              <a:gd name="connsiteX84" fmla="*/ 1525602 w 1568450"/>
              <a:gd name="connsiteY84" fmla="*/ 910520 h 1896949"/>
              <a:gd name="connsiteX85" fmla="*/ 1530367 w 1568450"/>
              <a:gd name="connsiteY85" fmla="*/ 908140 h 1896949"/>
              <a:gd name="connsiteX86" fmla="*/ 1536719 w 1568450"/>
              <a:gd name="connsiteY86" fmla="*/ 907346 h 1896949"/>
              <a:gd name="connsiteX87" fmla="*/ 1541484 w 1568450"/>
              <a:gd name="connsiteY87" fmla="*/ 907346 h 1896949"/>
              <a:gd name="connsiteX88" fmla="*/ 1546248 w 1568450"/>
              <a:gd name="connsiteY88" fmla="*/ 908140 h 1896949"/>
              <a:gd name="connsiteX89" fmla="*/ 1551013 w 1568450"/>
              <a:gd name="connsiteY89" fmla="*/ 910520 h 1896949"/>
              <a:gd name="connsiteX90" fmla="*/ 1554189 w 1568450"/>
              <a:gd name="connsiteY90" fmla="*/ 914487 h 1896949"/>
              <a:gd name="connsiteX91" fmla="*/ 1558160 w 1568450"/>
              <a:gd name="connsiteY91" fmla="*/ 919248 h 1896949"/>
              <a:gd name="connsiteX92" fmla="*/ 1561336 w 1568450"/>
              <a:gd name="connsiteY92" fmla="*/ 924802 h 1896949"/>
              <a:gd name="connsiteX93" fmla="*/ 1563718 w 1568450"/>
              <a:gd name="connsiteY93" fmla="*/ 931942 h 1896949"/>
              <a:gd name="connsiteX94" fmla="*/ 1565306 w 1568450"/>
              <a:gd name="connsiteY94" fmla="*/ 940670 h 1896949"/>
              <a:gd name="connsiteX95" fmla="*/ 1565306 w 1568450"/>
              <a:gd name="connsiteY95" fmla="*/ 950191 h 1896949"/>
              <a:gd name="connsiteX96" fmla="*/ 1565306 w 1568450"/>
              <a:gd name="connsiteY96" fmla="*/ 1581151 h 1896949"/>
              <a:gd name="connsiteX97" fmla="*/ 1134269 w 1568450"/>
              <a:gd name="connsiteY97" fmla="*/ 1581151 h 1896949"/>
              <a:gd name="connsiteX98" fmla="*/ 1134269 w 1568450"/>
              <a:gd name="connsiteY98" fmla="*/ 1581944 h 1896949"/>
              <a:gd name="connsiteX99" fmla="*/ 935037 w 1568450"/>
              <a:gd name="connsiteY99" fmla="*/ 1581944 h 1896949"/>
              <a:gd name="connsiteX100" fmla="*/ 925512 w 1568450"/>
              <a:gd name="connsiteY100" fmla="*/ 1583531 h 1896949"/>
              <a:gd name="connsiteX101" fmla="*/ 915987 w 1568450"/>
              <a:gd name="connsiteY101" fmla="*/ 1584324 h 1896949"/>
              <a:gd name="connsiteX102" fmla="*/ 908844 w 1568450"/>
              <a:gd name="connsiteY102" fmla="*/ 1586705 h 1896949"/>
              <a:gd name="connsiteX103" fmla="*/ 903287 w 1568450"/>
              <a:gd name="connsiteY103" fmla="*/ 1590672 h 1896949"/>
              <a:gd name="connsiteX104" fmla="*/ 896937 w 1568450"/>
              <a:gd name="connsiteY104" fmla="*/ 1596226 h 1896949"/>
              <a:gd name="connsiteX105" fmla="*/ 893762 w 1568450"/>
              <a:gd name="connsiteY105" fmla="*/ 1603368 h 1896949"/>
              <a:gd name="connsiteX106" fmla="*/ 893762 w 1568450"/>
              <a:gd name="connsiteY106" fmla="*/ 1604151 h 1896949"/>
              <a:gd name="connsiteX107" fmla="*/ 890209 w 1568450"/>
              <a:gd name="connsiteY107" fmla="*/ 1606819 h 1896949"/>
              <a:gd name="connsiteX108" fmla="*/ 887035 w 1568450"/>
              <a:gd name="connsiteY108" fmla="*/ 1613967 h 1896949"/>
              <a:gd name="connsiteX109" fmla="*/ 887035 w 1568450"/>
              <a:gd name="connsiteY109" fmla="*/ 1621114 h 1896949"/>
              <a:gd name="connsiteX110" fmla="*/ 887829 w 1568450"/>
              <a:gd name="connsiteY110" fmla="*/ 1628261 h 1896949"/>
              <a:gd name="connsiteX111" fmla="*/ 891796 w 1568450"/>
              <a:gd name="connsiteY111" fmla="*/ 1636203 h 1896949"/>
              <a:gd name="connsiteX112" fmla="*/ 898936 w 1568450"/>
              <a:gd name="connsiteY112" fmla="*/ 1644938 h 1896949"/>
              <a:gd name="connsiteX113" fmla="*/ 906871 w 1568450"/>
              <a:gd name="connsiteY113" fmla="*/ 1652086 h 1896949"/>
              <a:gd name="connsiteX114" fmla="*/ 918772 w 1568450"/>
              <a:gd name="connsiteY114" fmla="*/ 1657645 h 1896949"/>
              <a:gd name="connsiteX115" fmla="*/ 928293 w 1568450"/>
              <a:gd name="connsiteY115" fmla="*/ 1663998 h 1896949"/>
              <a:gd name="connsiteX116" fmla="*/ 939401 w 1568450"/>
              <a:gd name="connsiteY116" fmla="*/ 1671940 h 1896949"/>
              <a:gd name="connsiteX117" fmla="*/ 950508 w 1568450"/>
              <a:gd name="connsiteY117" fmla="*/ 1683058 h 1896949"/>
              <a:gd name="connsiteX118" fmla="*/ 956856 w 1568450"/>
              <a:gd name="connsiteY118" fmla="*/ 1688617 h 1896949"/>
              <a:gd name="connsiteX119" fmla="*/ 962410 w 1568450"/>
              <a:gd name="connsiteY119" fmla="*/ 1697352 h 1896949"/>
              <a:gd name="connsiteX120" fmla="*/ 967170 w 1568450"/>
              <a:gd name="connsiteY120" fmla="*/ 1705294 h 1896949"/>
              <a:gd name="connsiteX121" fmla="*/ 971931 w 1568450"/>
              <a:gd name="connsiteY121" fmla="*/ 1714824 h 1896949"/>
              <a:gd name="connsiteX122" fmla="*/ 976691 w 1568450"/>
              <a:gd name="connsiteY122" fmla="*/ 1724354 h 1896949"/>
              <a:gd name="connsiteX123" fmla="*/ 979071 w 1568450"/>
              <a:gd name="connsiteY123" fmla="*/ 1736266 h 1896949"/>
              <a:gd name="connsiteX124" fmla="*/ 981452 w 1568450"/>
              <a:gd name="connsiteY124" fmla="*/ 1748178 h 1896949"/>
              <a:gd name="connsiteX125" fmla="*/ 983038 w 1568450"/>
              <a:gd name="connsiteY125" fmla="*/ 1760884 h 1896949"/>
              <a:gd name="connsiteX126" fmla="*/ 981452 w 1568450"/>
              <a:gd name="connsiteY126" fmla="*/ 1775179 h 1896949"/>
              <a:gd name="connsiteX127" fmla="*/ 979071 w 1568450"/>
              <a:gd name="connsiteY127" fmla="*/ 1791062 h 1896949"/>
              <a:gd name="connsiteX128" fmla="*/ 974311 w 1568450"/>
              <a:gd name="connsiteY128" fmla="*/ 1803769 h 1896949"/>
              <a:gd name="connsiteX129" fmla="*/ 970309 w 1568450"/>
              <a:gd name="connsiteY129" fmla="*/ 1814069 h 1896949"/>
              <a:gd name="connsiteX130" fmla="*/ 966787 w 1568450"/>
              <a:gd name="connsiteY130" fmla="*/ 1819190 h 1896949"/>
              <a:gd name="connsiteX131" fmla="*/ 958850 w 1568450"/>
              <a:gd name="connsiteY131" fmla="*/ 1831092 h 1896949"/>
              <a:gd name="connsiteX132" fmla="*/ 948531 w 1568450"/>
              <a:gd name="connsiteY132" fmla="*/ 1842994 h 1896949"/>
              <a:gd name="connsiteX133" fmla="*/ 936625 w 1568450"/>
              <a:gd name="connsiteY133" fmla="*/ 1854102 h 1896949"/>
              <a:gd name="connsiteX134" fmla="*/ 923131 w 1568450"/>
              <a:gd name="connsiteY134" fmla="*/ 1862037 h 1896949"/>
              <a:gd name="connsiteX135" fmla="*/ 908844 w 1568450"/>
              <a:gd name="connsiteY135" fmla="*/ 1871558 h 1896949"/>
              <a:gd name="connsiteX136" fmla="*/ 893762 w 1568450"/>
              <a:gd name="connsiteY136" fmla="*/ 1878699 h 1896949"/>
              <a:gd name="connsiteX137" fmla="*/ 877887 w 1568450"/>
              <a:gd name="connsiteY137" fmla="*/ 1885047 h 1896949"/>
              <a:gd name="connsiteX138" fmla="*/ 861219 w 1568450"/>
              <a:gd name="connsiteY138" fmla="*/ 1889808 h 1896949"/>
              <a:gd name="connsiteX139" fmla="*/ 843756 w 1568450"/>
              <a:gd name="connsiteY139" fmla="*/ 1892982 h 1896949"/>
              <a:gd name="connsiteX140" fmla="*/ 826294 w 1568450"/>
              <a:gd name="connsiteY140" fmla="*/ 1895362 h 1896949"/>
              <a:gd name="connsiteX141" fmla="*/ 807244 w 1568450"/>
              <a:gd name="connsiteY141" fmla="*/ 1896949 h 1896949"/>
              <a:gd name="connsiteX142" fmla="*/ 788987 w 1568450"/>
              <a:gd name="connsiteY142" fmla="*/ 1895362 h 1896949"/>
              <a:gd name="connsiteX143" fmla="*/ 769937 w 1568450"/>
              <a:gd name="connsiteY143" fmla="*/ 1892982 h 1896949"/>
              <a:gd name="connsiteX144" fmla="*/ 753269 w 1568450"/>
              <a:gd name="connsiteY144" fmla="*/ 1889808 h 1896949"/>
              <a:gd name="connsiteX145" fmla="*/ 736600 w 1568450"/>
              <a:gd name="connsiteY145" fmla="*/ 1885047 h 1896949"/>
              <a:gd name="connsiteX146" fmla="*/ 720725 w 1568450"/>
              <a:gd name="connsiteY146" fmla="*/ 1878699 h 1896949"/>
              <a:gd name="connsiteX147" fmla="*/ 704850 w 1568450"/>
              <a:gd name="connsiteY147" fmla="*/ 1871558 h 1896949"/>
              <a:gd name="connsiteX148" fmla="*/ 692150 w 1568450"/>
              <a:gd name="connsiteY148" fmla="*/ 1862037 h 1896949"/>
              <a:gd name="connsiteX149" fmla="*/ 678656 w 1568450"/>
              <a:gd name="connsiteY149" fmla="*/ 1854102 h 1896949"/>
              <a:gd name="connsiteX150" fmla="*/ 666750 w 1568450"/>
              <a:gd name="connsiteY150" fmla="*/ 1842994 h 1896949"/>
              <a:gd name="connsiteX151" fmla="*/ 656431 w 1568450"/>
              <a:gd name="connsiteY151" fmla="*/ 1831092 h 1896949"/>
              <a:gd name="connsiteX152" fmla="*/ 646906 w 1568450"/>
              <a:gd name="connsiteY152" fmla="*/ 1819190 h 1896949"/>
              <a:gd name="connsiteX153" fmla="*/ 639762 w 1568450"/>
              <a:gd name="connsiteY153" fmla="*/ 1806494 h 1896949"/>
              <a:gd name="connsiteX154" fmla="*/ 633412 w 1568450"/>
              <a:gd name="connsiteY154" fmla="*/ 1793799 h 1896949"/>
              <a:gd name="connsiteX155" fmla="*/ 628650 w 1568450"/>
              <a:gd name="connsiteY155" fmla="*/ 1779517 h 1896949"/>
              <a:gd name="connsiteX156" fmla="*/ 626269 w 1568450"/>
              <a:gd name="connsiteY156" fmla="*/ 1765234 h 1896949"/>
              <a:gd name="connsiteX157" fmla="*/ 625475 w 1568450"/>
              <a:gd name="connsiteY157" fmla="*/ 1749365 h 1896949"/>
              <a:gd name="connsiteX158" fmla="*/ 625475 w 1568450"/>
              <a:gd name="connsiteY158" fmla="*/ 1736670 h 1896949"/>
              <a:gd name="connsiteX159" fmla="*/ 627856 w 1568450"/>
              <a:gd name="connsiteY159" fmla="*/ 1724768 h 1896949"/>
              <a:gd name="connsiteX160" fmla="*/ 631031 w 1568450"/>
              <a:gd name="connsiteY160" fmla="*/ 1713659 h 1896949"/>
              <a:gd name="connsiteX161" fmla="*/ 635000 w 1568450"/>
              <a:gd name="connsiteY161" fmla="*/ 1703344 h 1896949"/>
              <a:gd name="connsiteX162" fmla="*/ 636755 w 1568450"/>
              <a:gd name="connsiteY162" fmla="*/ 1700128 h 1896949"/>
              <a:gd name="connsiteX163" fmla="*/ 638696 w 1568450"/>
              <a:gd name="connsiteY163" fmla="*/ 1697352 h 1896949"/>
              <a:gd name="connsiteX164" fmla="*/ 645044 w 1568450"/>
              <a:gd name="connsiteY164" fmla="*/ 1688617 h 1896949"/>
              <a:gd name="connsiteX165" fmla="*/ 650597 w 1568450"/>
              <a:gd name="connsiteY165" fmla="*/ 1683058 h 1896949"/>
              <a:gd name="connsiteX166" fmla="*/ 662499 w 1568450"/>
              <a:gd name="connsiteY166" fmla="*/ 1671940 h 1896949"/>
              <a:gd name="connsiteX167" fmla="*/ 672020 w 1568450"/>
              <a:gd name="connsiteY167" fmla="*/ 1663998 h 1896949"/>
              <a:gd name="connsiteX168" fmla="*/ 683127 w 1568450"/>
              <a:gd name="connsiteY168" fmla="*/ 1657645 h 1896949"/>
              <a:gd name="connsiteX169" fmla="*/ 693442 w 1568450"/>
              <a:gd name="connsiteY169" fmla="*/ 1652086 h 1896949"/>
              <a:gd name="connsiteX170" fmla="*/ 702963 w 1568450"/>
              <a:gd name="connsiteY170" fmla="*/ 1644938 h 1896949"/>
              <a:gd name="connsiteX171" fmla="*/ 709310 w 1568450"/>
              <a:gd name="connsiteY171" fmla="*/ 1636203 h 1896949"/>
              <a:gd name="connsiteX172" fmla="*/ 713623 w 1568450"/>
              <a:gd name="connsiteY172" fmla="*/ 1629008 h 1896949"/>
              <a:gd name="connsiteX173" fmla="*/ 715962 w 1568450"/>
              <a:gd name="connsiteY173" fmla="*/ 1626378 h 1896949"/>
              <a:gd name="connsiteX174" fmla="*/ 720725 w 1568450"/>
              <a:gd name="connsiteY174" fmla="*/ 1617650 h 1896949"/>
              <a:gd name="connsiteX175" fmla="*/ 721519 w 1568450"/>
              <a:gd name="connsiteY175" fmla="*/ 1610509 h 1896949"/>
              <a:gd name="connsiteX176" fmla="*/ 720725 w 1568450"/>
              <a:gd name="connsiteY176" fmla="*/ 1603368 h 1896949"/>
              <a:gd name="connsiteX177" fmla="*/ 716756 w 1568450"/>
              <a:gd name="connsiteY177" fmla="*/ 1596226 h 1896949"/>
              <a:gd name="connsiteX178" fmla="*/ 711994 w 1568450"/>
              <a:gd name="connsiteY178" fmla="*/ 1590672 h 1896949"/>
              <a:gd name="connsiteX179" fmla="*/ 706437 w 1568450"/>
              <a:gd name="connsiteY179" fmla="*/ 1586705 h 1896949"/>
              <a:gd name="connsiteX180" fmla="*/ 697706 w 1568450"/>
              <a:gd name="connsiteY180" fmla="*/ 1584324 h 1896949"/>
              <a:gd name="connsiteX181" fmla="*/ 689769 w 1568450"/>
              <a:gd name="connsiteY181" fmla="*/ 1583531 h 1896949"/>
              <a:gd name="connsiteX182" fmla="*/ 680244 w 1568450"/>
              <a:gd name="connsiteY182" fmla="*/ 1581944 h 1896949"/>
              <a:gd name="connsiteX183" fmla="*/ 361156 w 1568450"/>
              <a:gd name="connsiteY183" fmla="*/ 1581944 h 1896949"/>
              <a:gd name="connsiteX184" fmla="*/ 361156 w 1568450"/>
              <a:gd name="connsiteY184" fmla="*/ 1581151 h 1896949"/>
              <a:gd name="connsiteX185" fmla="*/ 0 w 1568450"/>
              <a:gd name="connsiteY185" fmla="*/ 1581151 h 1896949"/>
              <a:gd name="connsiteX186" fmla="*/ 0 w 1568450"/>
              <a:gd name="connsiteY186" fmla="*/ 902739 h 1896949"/>
              <a:gd name="connsiteX187" fmla="*/ 0 w 1568450"/>
              <a:gd name="connsiteY187" fmla="*/ 893218 h 1896949"/>
              <a:gd name="connsiteX188" fmla="*/ 2381 w 1568450"/>
              <a:gd name="connsiteY188" fmla="*/ 885283 h 1896949"/>
              <a:gd name="connsiteX189" fmla="*/ 3969 w 1568450"/>
              <a:gd name="connsiteY189" fmla="*/ 878142 h 1896949"/>
              <a:gd name="connsiteX190" fmla="*/ 7144 w 1568450"/>
              <a:gd name="connsiteY190" fmla="*/ 873381 h 1896949"/>
              <a:gd name="connsiteX191" fmla="*/ 11112 w 1568450"/>
              <a:gd name="connsiteY191" fmla="*/ 868620 h 1896949"/>
              <a:gd name="connsiteX192" fmla="*/ 14287 w 1568450"/>
              <a:gd name="connsiteY192" fmla="*/ 864653 h 1896949"/>
              <a:gd name="connsiteX193" fmla="*/ 16628 w 1568450"/>
              <a:gd name="connsiteY193" fmla="*/ 863483 h 1896949"/>
              <a:gd name="connsiteX194" fmla="*/ 19843 w 1568450"/>
              <a:gd name="connsiteY194" fmla="*/ 863483 h 1896949"/>
              <a:gd name="connsiteX195" fmla="*/ 26193 w 1568450"/>
              <a:gd name="connsiteY195" fmla="*/ 864276 h 1896949"/>
              <a:gd name="connsiteX196" fmla="*/ 30956 w 1568450"/>
              <a:gd name="connsiteY196" fmla="*/ 866655 h 1896949"/>
              <a:gd name="connsiteX197" fmla="*/ 36512 w 1568450"/>
              <a:gd name="connsiteY197" fmla="*/ 870620 h 1896949"/>
              <a:gd name="connsiteX198" fmla="*/ 41275 w 1568450"/>
              <a:gd name="connsiteY198" fmla="*/ 875379 h 1896949"/>
              <a:gd name="connsiteX199" fmla="*/ 46037 w 1568450"/>
              <a:gd name="connsiteY199" fmla="*/ 880930 h 1896949"/>
              <a:gd name="connsiteX200" fmla="*/ 51593 w 1568450"/>
              <a:gd name="connsiteY200" fmla="*/ 888068 h 1896949"/>
              <a:gd name="connsiteX201" fmla="*/ 55562 w 1568450"/>
              <a:gd name="connsiteY201" fmla="*/ 896792 h 1896949"/>
              <a:gd name="connsiteX202" fmla="*/ 61118 w 1568450"/>
              <a:gd name="connsiteY202" fmla="*/ 906309 h 1896949"/>
              <a:gd name="connsiteX203" fmla="*/ 69850 w 1568450"/>
              <a:gd name="connsiteY203" fmla="*/ 916619 h 1896949"/>
              <a:gd name="connsiteX204" fmla="*/ 80168 w 1568450"/>
              <a:gd name="connsiteY204" fmla="*/ 928515 h 1896949"/>
              <a:gd name="connsiteX205" fmla="*/ 86518 w 1568450"/>
              <a:gd name="connsiteY205" fmla="*/ 934067 h 1896949"/>
              <a:gd name="connsiteX206" fmla="*/ 94456 w 1568450"/>
              <a:gd name="connsiteY206" fmla="*/ 940412 h 1896949"/>
              <a:gd name="connsiteX207" fmla="*/ 103187 w 1568450"/>
              <a:gd name="connsiteY207" fmla="*/ 945170 h 1896949"/>
              <a:gd name="connsiteX208" fmla="*/ 112712 w 1568450"/>
              <a:gd name="connsiteY208" fmla="*/ 949929 h 1896949"/>
              <a:gd name="connsiteX209" fmla="*/ 122237 w 1568450"/>
              <a:gd name="connsiteY209" fmla="*/ 954687 h 1896949"/>
              <a:gd name="connsiteX210" fmla="*/ 134143 w 1568450"/>
              <a:gd name="connsiteY210" fmla="*/ 957066 h 1896949"/>
              <a:gd name="connsiteX211" fmla="*/ 146050 w 1568450"/>
              <a:gd name="connsiteY211" fmla="*/ 959446 h 1896949"/>
              <a:gd name="connsiteX212" fmla="*/ 158750 w 1568450"/>
              <a:gd name="connsiteY212" fmla="*/ 960239 h 1896949"/>
              <a:gd name="connsiteX213" fmla="*/ 173037 w 1568450"/>
              <a:gd name="connsiteY213" fmla="*/ 959446 h 1896949"/>
              <a:gd name="connsiteX214" fmla="*/ 188118 w 1568450"/>
              <a:gd name="connsiteY214" fmla="*/ 955480 h 1896949"/>
              <a:gd name="connsiteX215" fmla="*/ 195484 w 1568450"/>
              <a:gd name="connsiteY215" fmla="*/ 953748 h 1896949"/>
              <a:gd name="connsiteX216" fmla="*/ 196850 w 1568450"/>
              <a:gd name="connsiteY216" fmla="*/ 953521 h 1896949"/>
              <a:gd name="connsiteX217" fmla="*/ 197804 w 1568450"/>
              <a:gd name="connsiteY217" fmla="*/ 953203 h 1896949"/>
              <a:gd name="connsiteX218" fmla="*/ 201612 w 1568450"/>
              <a:gd name="connsiteY218" fmla="*/ 952308 h 1896949"/>
              <a:gd name="connsiteX219" fmla="*/ 203860 w 1568450"/>
              <a:gd name="connsiteY219" fmla="*/ 951185 h 1896949"/>
              <a:gd name="connsiteX220" fmla="*/ 211137 w 1568450"/>
              <a:gd name="connsiteY220" fmla="*/ 948760 h 1896949"/>
              <a:gd name="connsiteX221" fmla="*/ 224631 w 1568450"/>
              <a:gd name="connsiteY221" fmla="*/ 943206 h 1896949"/>
              <a:gd name="connsiteX222" fmla="*/ 237331 w 1568450"/>
              <a:gd name="connsiteY222" fmla="*/ 934478 h 1896949"/>
              <a:gd name="connsiteX223" fmla="*/ 249237 w 1568450"/>
              <a:gd name="connsiteY223" fmla="*/ 924956 h 1896949"/>
              <a:gd name="connsiteX224" fmla="*/ 260350 w 1568450"/>
              <a:gd name="connsiteY224" fmla="*/ 915435 h 1896949"/>
              <a:gd name="connsiteX225" fmla="*/ 270669 w 1568450"/>
              <a:gd name="connsiteY225" fmla="*/ 903533 h 1896949"/>
              <a:gd name="connsiteX226" fmla="*/ 280194 w 1568450"/>
              <a:gd name="connsiteY226" fmla="*/ 890837 h 1896949"/>
              <a:gd name="connsiteX227" fmla="*/ 288131 w 1568450"/>
              <a:gd name="connsiteY227" fmla="*/ 876555 h 1896949"/>
              <a:gd name="connsiteX228" fmla="*/ 295275 w 1568450"/>
              <a:gd name="connsiteY228" fmla="*/ 861479 h 1896949"/>
              <a:gd name="connsiteX229" fmla="*/ 302419 w 1568450"/>
              <a:gd name="connsiteY229" fmla="*/ 845610 h 1896949"/>
              <a:gd name="connsiteX230" fmla="*/ 307181 w 1568450"/>
              <a:gd name="connsiteY230" fmla="*/ 828947 h 1896949"/>
              <a:gd name="connsiteX231" fmla="*/ 311150 w 1568450"/>
              <a:gd name="connsiteY231" fmla="*/ 811491 h 1896949"/>
              <a:gd name="connsiteX232" fmla="*/ 313531 w 1568450"/>
              <a:gd name="connsiteY232" fmla="*/ 793241 h 1896949"/>
              <a:gd name="connsiteX233" fmla="*/ 313531 w 1568450"/>
              <a:gd name="connsiteY233" fmla="*/ 774991 h 1896949"/>
              <a:gd name="connsiteX234" fmla="*/ 313531 w 1568450"/>
              <a:gd name="connsiteY234" fmla="*/ 756742 h 1896949"/>
              <a:gd name="connsiteX235" fmla="*/ 311150 w 1568450"/>
              <a:gd name="connsiteY235" fmla="*/ 737699 h 1896949"/>
              <a:gd name="connsiteX236" fmla="*/ 307181 w 1568450"/>
              <a:gd name="connsiteY236" fmla="*/ 721036 h 1896949"/>
              <a:gd name="connsiteX237" fmla="*/ 302419 w 1568450"/>
              <a:gd name="connsiteY237" fmla="*/ 703580 h 1896949"/>
              <a:gd name="connsiteX238" fmla="*/ 295275 w 1568450"/>
              <a:gd name="connsiteY238" fmla="*/ 687710 h 1896949"/>
              <a:gd name="connsiteX239" fmla="*/ 288131 w 1568450"/>
              <a:gd name="connsiteY239" fmla="*/ 672635 h 1896949"/>
              <a:gd name="connsiteX240" fmla="*/ 280194 w 1568450"/>
              <a:gd name="connsiteY240" fmla="*/ 659939 h 1896949"/>
              <a:gd name="connsiteX241" fmla="*/ 270669 w 1568450"/>
              <a:gd name="connsiteY241" fmla="*/ 646450 h 1896949"/>
              <a:gd name="connsiteX242" fmla="*/ 260350 w 1568450"/>
              <a:gd name="connsiteY242" fmla="*/ 634548 h 1896949"/>
              <a:gd name="connsiteX243" fmla="*/ 249237 w 1568450"/>
              <a:gd name="connsiteY243" fmla="*/ 624233 h 1896949"/>
              <a:gd name="connsiteX244" fmla="*/ 237331 w 1568450"/>
              <a:gd name="connsiteY244" fmla="*/ 614712 h 1896949"/>
              <a:gd name="connsiteX245" fmla="*/ 224631 w 1568450"/>
              <a:gd name="connsiteY245" fmla="*/ 607571 h 1896949"/>
              <a:gd name="connsiteX246" fmla="*/ 211137 w 1568450"/>
              <a:gd name="connsiteY246" fmla="*/ 601223 h 1896949"/>
              <a:gd name="connsiteX247" fmla="*/ 196850 w 1568450"/>
              <a:gd name="connsiteY247" fmla="*/ 596462 h 1896949"/>
              <a:gd name="connsiteX248" fmla="*/ 182562 w 1568450"/>
              <a:gd name="connsiteY248" fmla="*/ 594082 h 1896949"/>
              <a:gd name="connsiteX249" fmla="*/ 167481 w 1568450"/>
              <a:gd name="connsiteY249" fmla="*/ 593288 h 1896949"/>
              <a:gd name="connsiteX250" fmla="*/ 153987 w 1568450"/>
              <a:gd name="connsiteY250" fmla="*/ 593288 h 1896949"/>
              <a:gd name="connsiteX251" fmla="*/ 142875 w 1568450"/>
              <a:gd name="connsiteY251" fmla="*/ 595669 h 1896949"/>
              <a:gd name="connsiteX252" fmla="*/ 131762 w 1568450"/>
              <a:gd name="connsiteY252" fmla="*/ 598843 h 1896949"/>
              <a:gd name="connsiteX253" fmla="*/ 121444 w 1568450"/>
              <a:gd name="connsiteY253" fmla="*/ 602810 h 1896949"/>
              <a:gd name="connsiteX254" fmla="*/ 121366 w 1568450"/>
              <a:gd name="connsiteY254" fmla="*/ 602849 h 1896949"/>
              <a:gd name="connsiteX255" fmla="*/ 112712 w 1568450"/>
              <a:gd name="connsiteY255" fmla="*/ 605731 h 1896949"/>
              <a:gd name="connsiteX256" fmla="*/ 103187 w 1568450"/>
              <a:gd name="connsiteY256" fmla="*/ 610490 h 1896949"/>
              <a:gd name="connsiteX257" fmla="*/ 94456 w 1568450"/>
              <a:gd name="connsiteY257" fmla="*/ 616834 h 1896949"/>
              <a:gd name="connsiteX258" fmla="*/ 86518 w 1568450"/>
              <a:gd name="connsiteY258" fmla="*/ 621593 h 1896949"/>
              <a:gd name="connsiteX259" fmla="*/ 80168 w 1568450"/>
              <a:gd name="connsiteY259" fmla="*/ 628730 h 1896949"/>
              <a:gd name="connsiteX260" fmla="*/ 69850 w 1568450"/>
              <a:gd name="connsiteY260" fmla="*/ 639041 h 1896949"/>
              <a:gd name="connsiteX261" fmla="*/ 61118 w 1568450"/>
              <a:gd name="connsiteY261" fmla="*/ 650144 h 1896949"/>
              <a:gd name="connsiteX262" fmla="*/ 55562 w 1568450"/>
              <a:gd name="connsiteY262" fmla="*/ 659661 h 1896949"/>
              <a:gd name="connsiteX263" fmla="*/ 51593 w 1568450"/>
              <a:gd name="connsiteY263" fmla="*/ 667591 h 1896949"/>
              <a:gd name="connsiteX264" fmla="*/ 46037 w 1568450"/>
              <a:gd name="connsiteY264" fmla="*/ 674729 h 1896949"/>
              <a:gd name="connsiteX265" fmla="*/ 41275 w 1568450"/>
              <a:gd name="connsiteY265" fmla="*/ 680281 h 1896949"/>
              <a:gd name="connsiteX266" fmla="*/ 36512 w 1568450"/>
              <a:gd name="connsiteY266" fmla="*/ 685039 h 1896949"/>
              <a:gd name="connsiteX267" fmla="*/ 31863 w 1568450"/>
              <a:gd name="connsiteY267" fmla="*/ 688358 h 1896949"/>
              <a:gd name="connsiteX268" fmla="*/ 28575 w 1568450"/>
              <a:gd name="connsiteY268" fmla="*/ 689297 h 1896949"/>
              <a:gd name="connsiteX269" fmla="*/ 23812 w 1568450"/>
              <a:gd name="connsiteY269" fmla="*/ 689297 h 1896949"/>
              <a:gd name="connsiteX270" fmla="*/ 19050 w 1568450"/>
              <a:gd name="connsiteY270" fmla="*/ 687710 h 1896949"/>
              <a:gd name="connsiteX271" fmla="*/ 14287 w 1568450"/>
              <a:gd name="connsiteY271" fmla="*/ 685330 h 1896949"/>
              <a:gd name="connsiteX272" fmla="*/ 11112 w 1568450"/>
              <a:gd name="connsiteY272" fmla="*/ 682156 h 1896949"/>
              <a:gd name="connsiteX273" fmla="*/ 7144 w 1568450"/>
              <a:gd name="connsiteY273" fmla="*/ 677395 h 1896949"/>
              <a:gd name="connsiteX274" fmla="*/ 3969 w 1568450"/>
              <a:gd name="connsiteY274" fmla="*/ 671841 h 1896949"/>
              <a:gd name="connsiteX275" fmla="*/ 2381 w 1568450"/>
              <a:gd name="connsiteY275" fmla="*/ 664700 h 1896949"/>
              <a:gd name="connsiteX276" fmla="*/ 0 w 1568450"/>
              <a:gd name="connsiteY276" fmla="*/ 655972 h 1896949"/>
              <a:gd name="connsiteX277" fmla="*/ 0 w 1568450"/>
              <a:gd name="connsiteY277" fmla="*/ 648037 h 1896949"/>
              <a:gd name="connsiteX278" fmla="*/ 0 w 1568450"/>
              <a:gd name="connsiteY278" fmla="*/ 10886 h 1896949"/>
              <a:gd name="connsiteX279" fmla="*/ 434181 w 1568450"/>
              <a:gd name="connsiteY279" fmla="*/ 10886 h 1896949"/>
              <a:gd name="connsiteX280" fmla="*/ 434181 w 1568450"/>
              <a:gd name="connsiteY280" fmla="*/ 9299 h 1896949"/>
              <a:gd name="connsiteX281" fmla="*/ 633412 w 1568450"/>
              <a:gd name="connsiteY281" fmla="*/ 9299 h 1896949"/>
              <a:gd name="connsiteX282" fmla="*/ 642937 w 1568450"/>
              <a:gd name="connsiteY282" fmla="*/ 9299 h 1896949"/>
              <a:gd name="connsiteX283" fmla="*/ 652462 w 1568450"/>
              <a:gd name="connsiteY283" fmla="*/ 6919 h 1896949"/>
              <a:gd name="connsiteX284" fmla="*/ 659606 w 1568450"/>
              <a:gd name="connsiteY284" fmla="*/ 4538 h 1896949"/>
              <a:gd name="connsiteX285" fmla="*/ 665956 w 1568450"/>
              <a:gd name="connsiteY285" fmla="*/ 1364 h 1896949"/>
              <a:gd name="connsiteX286" fmla="*/ 667548 w 1568450"/>
              <a:gd name="connsiteY286" fmla="*/ 0 h 1896949"/>
              <a:gd name="connsiteX287" fmla="*/ 670719 w 1568450"/>
              <a:gd name="connsiteY287" fmla="*/ 0 h 1896949"/>
              <a:gd name="connsiteX288" fmla="*/ 680244 w 1568450"/>
              <a:gd name="connsiteY288" fmla="*/ 1587 h 1896949"/>
              <a:gd name="connsiteX289" fmla="*/ 688181 w 1568450"/>
              <a:gd name="connsiteY289" fmla="*/ 2380 h 1896949"/>
              <a:gd name="connsiteX290" fmla="*/ 696912 w 1568450"/>
              <a:gd name="connsiteY290" fmla="*/ 4761 h 1896949"/>
              <a:gd name="connsiteX291" fmla="*/ 702469 w 1568450"/>
              <a:gd name="connsiteY291" fmla="*/ 8728 h 1896949"/>
              <a:gd name="connsiteX292" fmla="*/ 707231 w 1568450"/>
              <a:gd name="connsiteY292" fmla="*/ 14282 h 1896949"/>
              <a:gd name="connsiteX293" fmla="*/ 711200 w 1568450"/>
              <a:gd name="connsiteY293" fmla="*/ 21424 h 1896949"/>
              <a:gd name="connsiteX294" fmla="*/ 711994 w 1568450"/>
              <a:gd name="connsiteY294" fmla="*/ 28565 h 1896949"/>
              <a:gd name="connsiteX295" fmla="*/ 711200 w 1568450"/>
              <a:gd name="connsiteY295" fmla="*/ 35706 h 1896949"/>
              <a:gd name="connsiteX296" fmla="*/ 706437 w 1568450"/>
              <a:gd name="connsiteY296" fmla="*/ 44434 h 1896949"/>
              <a:gd name="connsiteX297" fmla="*/ 700087 w 1568450"/>
              <a:gd name="connsiteY297" fmla="*/ 51575 h 1896949"/>
              <a:gd name="connsiteX298" fmla="*/ 690562 w 1568450"/>
              <a:gd name="connsiteY298" fmla="*/ 58716 h 1896949"/>
              <a:gd name="connsiteX299" fmla="*/ 683085 w 1568450"/>
              <a:gd name="connsiteY299" fmla="*/ 63891 h 1896949"/>
              <a:gd name="connsiteX300" fmla="*/ 678656 w 1568450"/>
              <a:gd name="connsiteY300" fmla="*/ 66105 h 1896949"/>
              <a:gd name="connsiteX301" fmla="*/ 676469 w 1568450"/>
              <a:gd name="connsiteY301" fmla="*/ 67744 h 1896949"/>
              <a:gd name="connsiteX302" fmla="*/ 669131 w 1568450"/>
              <a:gd name="connsiteY302" fmla="*/ 71412 h 1896949"/>
              <a:gd name="connsiteX303" fmla="*/ 659606 w 1568450"/>
              <a:gd name="connsiteY303" fmla="*/ 78553 h 1896949"/>
              <a:gd name="connsiteX304" fmla="*/ 647700 w 1568450"/>
              <a:gd name="connsiteY304" fmla="*/ 89661 h 1896949"/>
              <a:gd name="connsiteX305" fmla="*/ 642144 w 1568450"/>
              <a:gd name="connsiteY305" fmla="*/ 96803 h 1896949"/>
              <a:gd name="connsiteX306" fmla="*/ 635794 w 1568450"/>
              <a:gd name="connsiteY306" fmla="*/ 103944 h 1896949"/>
              <a:gd name="connsiteX307" fmla="*/ 630237 w 1568450"/>
              <a:gd name="connsiteY307" fmla="*/ 112672 h 1896949"/>
              <a:gd name="connsiteX308" fmla="*/ 625475 w 1568450"/>
              <a:gd name="connsiteY308" fmla="*/ 121400 h 1896949"/>
              <a:gd name="connsiteX309" fmla="*/ 621506 w 1568450"/>
              <a:gd name="connsiteY309" fmla="*/ 131715 h 1896949"/>
              <a:gd name="connsiteX310" fmla="*/ 618331 w 1568450"/>
              <a:gd name="connsiteY310" fmla="*/ 142824 h 1896949"/>
              <a:gd name="connsiteX311" fmla="*/ 615950 w 1568450"/>
              <a:gd name="connsiteY311" fmla="*/ 154726 h 1896949"/>
              <a:gd name="connsiteX312" fmla="*/ 615950 w 1568450"/>
              <a:gd name="connsiteY312" fmla="*/ 167421 h 1896949"/>
              <a:gd name="connsiteX313" fmla="*/ 616744 w 1568450"/>
              <a:gd name="connsiteY313" fmla="*/ 183290 h 1896949"/>
              <a:gd name="connsiteX314" fmla="*/ 619125 w 1568450"/>
              <a:gd name="connsiteY314" fmla="*/ 197573 h 1896949"/>
              <a:gd name="connsiteX315" fmla="*/ 623887 w 1568450"/>
              <a:gd name="connsiteY315" fmla="*/ 211855 h 1896949"/>
              <a:gd name="connsiteX316" fmla="*/ 630237 w 1568450"/>
              <a:gd name="connsiteY316" fmla="*/ 224550 h 1896949"/>
              <a:gd name="connsiteX317" fmla="*/ 637381 w 1568450"/>
              <a:gd name="connsiteY317" fmla="*/ 237246 h 1896949"/>
              <a:gd name="connsiteX318" fmla="*/ 646906 w 1568450"/>
              <a:gd name="connsiteY318" fmla="*/ 249148 h 1896949"/>
              <a:gd name="connsiteX319" fmla="*/ 657225 w 1568450"/>
              <a:gd name="connsiteY319" fmla="*/ 261050 h 1896949"/>
              <a:gd name="connsiteX320" fmla="*/ 669131 w 1568450"/>
              <a:gd name="connsiteY320" fmla="*/ 272158 h 1896949"/>
              <a:gd name="connsiteX321" fmla="*/ 682625 w 1568450"/>
              <a:gd name="connsiteY321" fmla="*/ 280093 h 1896949"/>
              <a:gd name="connsiteX322" fmla="*/ 695325 w 1568450"/>
              <a:gd name="connsiteY322" fmla="*/ 289614 h 1896949"/>
              <a:gd name="connsiteX323" fmla="*/ 711200 w 1568450"/>
              <a:gd name="connsiteY323" fmla="*/ 296755 h 1896949"/>
              <a:gd name="connsiteX324" fmla="*/ 727075 w 1568450"/>
              <a:gd name="connsiteY324" fmla="*/ 303103 h 1896949"/>
              <a:gd name="connsiteX325" fmla="*/ 743744 w 1568450"/>
              <a:gd name="connsiteY325" fmla="*/ 307864 h 1896949"/>
              <a:gd name="connsiteX326" fmla="*/ 760412 w 1568450"/>
              <a:gd name="connsiteY326" fmla="*/ 311038 h 1896949"/>
              <a:gd name="connsiteX327" fmla="*/ 779462 w 1568450"/>
              <a:gd name="connsiteY327" fmla="*/ 313418 h 1896949"/>
              <a:gd name="connsiteX328" fmla="*/ 797719 w 1568450"/>
              <a:gd name="connsiteY328" fmla="*/ 315005 h 1896949"/>
              <a:gd name="connsiteX329" fmla="*/ 816769 w 1568450"/>
              <a:gd name="connsiteY329" fmla="*/ 313418 h 1896949"/>
              <a:gd name="connsiteX330" fmla="*/ 834231 w 1568450"/>
              <a:gd name="connsiteY330" fmla="*/ 311038 h 1896949"/>
              <a:gd name="connsiteX331" fmla="*/ 851694 w 1568450"/>
              <a:gd name="connsiteY331" fmla="*/ 307864 h 1896949"/>
              <a:gd name="connsiteX332" fmla="*/ 868362 w 1568450"/>
              <a:gd name="connsiteY332" fmla="*/ 303103 h 1896949"/>
              <a:gd name="connsiteX333" fmla="*/ 884237 w 1568450"/>
              <a:gd name="connsiteY333" fmla="*/ 296755 h 1896949"/>
              <a:gd name="connsiteX334" fmla="*/ 899319 w 1568450"/>
              <a:gd name="connsiteY334" fmla="*/ 289614 h 1896949"/>
              <a:gd name="connsiteX335" fmla="*/ 903451 w 1568450"/>
              <a:gd name="connsiteY335" fmla="*/ 286860 h 1896949"/>
              <a:gd name="connsiteX336" fmla="*/ 908844 w 1568450"/>
              <a:gd name="connsiteY336" fmla="*/ 284307 h 1896949"/>
              <a:gd name="connsiteX337" fmla="*/ 923131 w 1568450"/>
              <a:gd name="connsiteY337" fmla="*/ 274786 h 1896949"/>
              <a:gd name="connsiteX338" fmla="*/ 936625 w 1568450"/>
              <a:gd name="connsiteY338" fmla="*/ 266851 h 1896949"/>
              <a:gd name="connsiteX339" fmla="*/ 948531 w 1568450"/>
              <a:gd name="connsiteY339" fmla="*/ 255743 h 1896949"/>
              <a:gd name="connsiteX340" fmla="*/ 958850 w 1568450"/>
              <a:gd name="connsiteY340" fmla="*/ 243841 h 1896949"/>
              <a:gd name="connsiteX341" fmla="*/ 966787 w 1568450"/>
              <a:gd name="connsiteY341" fmla="*/ 231939 h 1896949"/>
              <a:gd name="connsiteX342" fmla="*/ 975519 w 1568450"/>
              <a:gd name="connsiteY342" fmla="*/ 219243 h 1896949"/>
              <a:gd name="connsiteX343" fmla="*/ 981075 w 1568450"/>
              <a:gd name="connsiteY343" fmla="*/ 206548 h 1896949"/>
              <a:gd name="connsiteX344" fmla="*/ 985837 w 1568450"/>
              <a:gd name="connsiteY344" fmla="*/ 192266 h 1896949"/>
              <a:gd name="connsiteX345" fmla="*/ 988219 w 1568450"/>
              <a:gd name="connsiteY345" fmla="*/ 177983 h 1896949"/>
              <a:gd name="connsiteX346" fmla="*/ 989806 w 1568450"/>
              <a:gd name="connsiteY346" fmla="*/ 162114 h 1896949"/>
              <a:gd name="connsiteX347" fmla="*/ 988219 w 1568450"/>
              <a:gd name="connsiteY347" fmla="*/ 149419 h 1896949"/>
              <a:gd name="connsiteX348" fmla="*/ 985837 w 1568450"/>
              <a:gd name="connsiteY348" fmla="*/ 137517 h 1896949"/>
              <a:gd name="connsiteX349" fmla="*/ 983456 w 1568450"/>
              <a:gd name="connsiteY349" fmla="*/ 126408 h 1896949"/>
              <a:gd name="connsiteX350" fmla="*/ 978694 w 1568450"/>
              <a:gd name="connsiteY350" fmla="*/ 116093 h 1896949"/>
              <a:gd name="connsiteX351" fmla="*/ 973931 w 1568450"/>
              <a:gd name="connsiteY351" fmla="*/ 107365 h 1896949"/>
              <a:gd name="connsiteX352" fmla="*/ 969169 w 1568450"/>
              <a:gd name="connsiteY352" fmla="*/ 98637 h 1896949"/>
              <a:gd name="connsiteX353" fmla="*/ 963612 w 1568450"/>
              <a:gd name="connsiteY353" fmla="*/ 91496 h 1896949"/>
              <a:gd name="connsiteX354" fmla="*/ 957262 w 1568450"/>
              <a:gd name="connsiteY354" fmla="*/ 84354 h 1896949"/>
              <a:gd name="connsiteX355" fmla="*/ 946150 w 1568450"/>
              <a:gd name="connsiteY355" fmla="*/ 73246 h 1896949"/>
              <a:gd name="connsiteX356" fmla="*/ 935037 w 1568450"/>
              <a:gd name="connsiteY356" fmla="*/ 66105 h 1896949"/>
              <a:gd name="connsiteX357" fmla="*/ 925512 w 1568450"/>
              <a:gd name="connsiteY357" fmla="*/ 60551 h 1896949"/>
              <a:gd name="connsiteX358" fmla="*/ 913606 w 1568450"/>
              <a:gd name="connsiteY358" fmla="*/ 53409 h 1896949"/>
              <a:gd name="connsiteX359" fmla="*/ 905669 w 1568450"/>
              <a:gd name="connsiteY359" fmla="*/ 46268 h 1896949"/>
              <a:gd name="connsiteX360" fmla="*/ 898525 w 1568450"/>
              <a:gd name="connsiteY360" fmla="*/ 39127 h 1896949"/>
              <a:gd name="connsiteX361" fmla="*/ 894556 w 1568450"/>
              <a:gd name="connsiteY361" fmla="*/ 30399 h 1896949"/>
              <a:gd name="connsiteX362" fmla="*/ 893762 w 1568450"/>
              <a:gd name="connsiteY362" fmla="*/ 23258 h 1896949"/>
              <a:gd name="connsiteX363" fmla="*/ 893762 w 1568450"/>
              <a:gd name="connsiteY363" fmla="*/ 16117 h 1896949"/>
              <a:gd name="connsiteX364" fmla="*/ 896793 w 1568450"/>
              <a:gd name="connsiteY364" fmla="*/ 9299 h 1896949"/>
              <a:gd name="connsiteX365" fmla="*/ 1208087 w 1568450"/>
              <a:gd name="connsiteY365" fmla="*/ 9299 h 1896949"/>
              <a:gd name="connsiteX366" fmla="*/ 1208087 w 1568450"/>
              <a:gd name="connsiteY366" fmla="*/ 10886 h 1896949"/>
              <a:gd name="connsiteX367" fmla="*/ 1568450 w 1568450"/>
              <a:gd name="connsiteY367" fmla="*/ 10886 h 1896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Lst>
            <a:rect l="l" t="t" r="r" b="b"/>
            <a:pathLst>
              <a:path w="1568450" h="1896949">
                <a:moveTo>
                  <a:pt x="1568450" y="10886"/>
                </a:moveTo>
                <a:lnTo>
                  <a:pt x="1568450" y="13167"/>
                </a:lnTo>
                <a:lnTo>
                  <a:pt x="1562924" y="13167"/>
                </a:lnTo>
                <a:lnTo>
                  <a:pt x="1565306" y="696298"/>
                </a:lnTo>
                <a:lnTo>
                  <a:pt x="1563718" y="704232"/>
                </a:lnTo>
                <a:lnTo>
                  <a:pt x="1562924" y="712960"/>
                </a:lnTo>
                <a:lnTo>
                  <a:pt x="1560542" y="720100"/>
                </a:lnTo>
                <a:lnTo>
                  <a:pt x="1558160" y="724861"/>
                </a:lnTo>
                <a:lnTo>
                  <a:pt x="1557863" y="725218"/>
                </a:lnTo>
                <a:lnTo>
                  <a:pt x="1554162" y="728177"/>
                </a:lnTo>
                <a:lnTo>
                  <a:pt x="1549400" y="730557"/>
                </a:lnTo>
                <a:lnTo>
                  <a:pt x="1544637" y="732144"/>
                </a:lnTo>
                <a:lnTo>
                  <a:pt x="1539081" y="732144"/>
                </a:lnTo>
                <a:lnTo>
                  <a:pt x="1534319" y="730557"/>
                </a:lnTo>
                <a:lnTo>
                  <a:pt x="1528762" y="728177"/>
                </a:lnTo>
                <a:lnTo>
                  <a:pt x="1524000" y="725003"/>
                </a:lnTo>
                <a:lnTo>
                  <a:pt x="1517650" y="720242"/>
                </a:lnTo>
                <a:lnTo>
                  <a:pt x="1512887" y="713895"/>
                </a:lnTo>
                <a:lnTo>
                  <a:pt x="1508125" y="708341"/>
                </a:lnTo>
                <a:lnTo>
                  <a:pt x="1503362" y="699612"/>
                </a:lnTo>
                <a:lnTo>
                  <a:pt x="1497806" y="689297"/>
                </a:lnTo>
                <a:lnTo>
                  <a:pt x="1490662" y="679776"/>
                </a:lnTo>
                <a:lnTo>
                  <a:pt x="1479550" y="667874"/>
                </a:lnTo>
                <a:lnTo>
                  <a:pt x="1472406" y="662320"/>
                </a:lnTo>
                <a:lnTo>
                  <a:pt x="1465262" y="655972"/>
                </a:lnTo>
                <a:lnTo>
                  <a:pt x="1457325" y="650418"/>
                </a:lnTo>
                <a:lnTo>
                  <a:pt x="1447800" y="645657"/>
                </a:lnTo>
                <a:lnTo>
                  <a:pt x="1436687" y="641690"/>
                </a:lnTo>
                <a:lnTo>
                  <a:pt x="1426369" y="638516"/>
                </a:lnTo>
                <a:lnTo>
                  <a:pt x="1414462" y="636135"/>
                </a:lnTo>
                <a:lnTo>
                  <a:pt x="1401762" y="636135"/>
                </a:lnTo>
                <a:lnTo>
                  <a:pt x="1385887" y="636929"/>
                </a:lnTo>
                <a:lnTo>
                  <a:pt x="1371600" y="639309"/>
                </a:lnTo>
                <a:lnTo>
                  <a:pt x="1357312" y="644070"/>
                </a:lnTo>
                <a:lnTo>
                  <a:pt x="1344612" y="650418"/>
                </a:lnTo>
                <a:lnTo>
                  <a:pt x="1331119" y="657559"/>
                </a:lnTo>
                <a:lnTo>
                  <a:pt x="1319212" y="667080"/>
                </a:lnTo>
                <a:lnTo>
                  <a:pt x="1307306" y="677395"/>
                </a:lnTo>
                <a:lnTo>
                  <a:pt x="1298817" y="688967"/>
                </a:lnTo>
                <a:lnTo>
                  <a:pt x="1294523" y="693918"/>
                </a:lnTo>
                <a:lnTo>
                  <a:pt x="1284994" y="705819"/>
                </a:lnTo>
                <a:lnTo>
                  <a:pt x="1277054" y="720100"/>
                </a:lnTo>
                <a:lnTo>
                  <a:pt x="1269907" y="735175"/>
                </a:lnTo>
                <a:lnTo>
                  <a:pt x="1262760" y="751043"/>
                </a:lnTo>
                <a:lnTo>
                  <a:pt x="1257995" y="767705"/>
                </a:lnTo>
                <a:lnTo>
                  <a:pt x="1254025" y="785160"/>
                </a:lnTo>
                <a:lnTo>
                  <a:pt x="1251643" y="802616"/>
                </a:lnTo>
                <a:lnTo>
                  <a:pt x="1251643" y="821658"/>
                </a:lnTo>
                <a:lnTo>
                  <a:pt x="1251643" y="840699"/>
                </a:lnTo>
                <a:lnTo>
                  <a:pt x="1254025" y="858948"/>
                </a:lnTo>
                <a:lnTo>
                  <a:pt x="1257995" y="876403"/>
                </a:lnTo>
                <a:lnTo>
                  <a:pt x="1262760" y="893065"/>
                </a:lnTo>
                <a:lnTo>
                  <a:pt x="1269907" y="908140"/>
                </a:lnTo>
                <a:lnTo>
                  <a:pt x="1277054" y="924008"/>
                </a:lnTo>
                <a:lnTo>
                  <a:pt x="1284994" y="938290"/>
                </a:lnTo>
                <a:lnTo>
                  <a:pt x="1294523" y="950984"/>
                </a:lnTo>
                <a:lnTo>
                  <a:pt x="1304846" y="962092"/>
                </a:lnTo>
                <a:lnTo>
                  <a:pt x="1315964" y="972407"/>
                </a:lnTo>
                <a:lnTo>
                  <a:pt x="1327875" y="981928"/>
                </a:lnTo>
                <a:lnTo>
                  <a:pt x="1340580" y="989068"/>
                </a:lnTo>
                <a:lnTo>
                  <a:pt x="1354080" y="996209"/>
                </a:lnTo>
                <a:lnTo>
                  <a:pt x="1368373" y="1000176"/>
                </a:lnTo>
                <a:lnTo>
                  <a:pt x="1382667" y="1003350"/>
                </a:lnTo>
                <a:lnTo>
                  <a:pt x="1397754" y="1004937"/>
                </a:lnTo>
                <a:lnTo>
                  <a:pt x="1410460" y="1003350"/>
                </a:lnTo>
                <a:lnTo>
                  <a:pt x="1422371" y="1000970"/>
                </a:lnTo>
                <a:lnTo>
                  <a:pt x="1434282" y="998589"/>
                </a:lnTo>
                <a:lnTo>
                  <a:pt x="1443811" y="993829"/>
                </a:lnTo>
                <a:lnTo>
                  <a:pt x="1453340" y="989068"/>
                </a:lnTo>
                <a:lnTo>
                  <a:pt x="1462075" y="984308"/>
                </a:lnTo>
                <a:lnTo>
                  <a:pt x="1469222" y="978754"/>
                </a:lnTo>
                <a:lnTo>
                  <a:pt x="1476369" y="972407"/>
                </a:lnTo>
                <a:lnTo>
                  <a:pt x="1486692" y="960505"/>
                </a:lnTo>
                <a:lnTo>
                  <a:pt x="1489900" y="956718"/>
                </a:lnTo>
                <a:lnTo>
                  <a:pt x="1490662" y="955901"/>
                </a:lnTo>
                <a:lnTo>
                  <a:pt x="1490980" y="955442"/>
                </a:lnTo>
                <a:lnTo>
                  <a:pt x="1495427" y="950191"/>
                </a:lnTo>
                <a:lnTo>
                  <a:pt x="1500985" y="940670"/>
                </a:lnTo>
                <a:lnTo>
                  <a:pt x="1502083" y="938257"/>
                </a:lnTo>
                <a:lnTo>
                  <a:pt x="1503362" y="936065"/>
                </a:lnTo>
                <a:lnTo>
                  <a:pt x="1508125" y="927336"/>
                </a:lnTo>
                <a:lnTo>
                  <a:pt x="1510004" y="924518"/>
                </a:lnTo>
                <a:lnTo>
                  <a:pt x="1515279" y="919248"/>
                </a:lnTo>
                <a:lnTo>
                  <a:pt x="1520043" y="914487"/>
                </a:lnTo>
                <a:lnTo>
                  <a:pt x="1525602" y="910520"/>
                </a:lnTo>
                <a:lnTo>
                  <a:pt x="1530367" y="908140"/>
                </a:lnTo>
                <a:lnTo>
                  <a:pt x="1536719" y="907346"/>
                </a:lnTo>
                <a:lnTo>
                  <a:pt x="1541484" y="907346"/>
                </a:lnTo>
                <a:lnTo>
                  <a:pt x="1546248" y="908140"/>
                </a:lnTo>
                <a:lnTo>
                  <a:pt x="1551013" y="910520"/>
                </a:lnTo>
                <a:lnTo>
                  <a:pt x="1554189" y="914487"/>
                </a:lnTo>
                <a:lnTo>
                  <a:pt x="1558160" y="919248"/>
                </a:lnTo>
                <a:lnTo>
                  <a:pt x="1561336" y="924802"/>
                </a:lnTo>
                <a:lnTo>
                  <a:pt x="1563718" y="931942"/>
                </a:lnTo>
                <a:lnTo>
                  <a:pt x="1565306" y="940670"/>
                </a:lnTo>
                <a:lnTo>
                  <a:pt x="1565306" y="950191"/>
                </a:lnTo>
                <a:lnTo>
                  <a:pt x="1565306" y="1581151"/>
                </a:lnTo>
                <a:lnTo>
                  <a:pt x="1134269" y="1581151"/>
                </a:lnTo>
                <a:lnTo>
                  <a:pt x="1134269" y="1581944"/>
                </a:lnTo>
                <a:lnTo>
                  <a:pt x="935037" y="1581944"/>
                </a:lnTo>
                <a:lnTo>
                  <a:pt x="925512" y="1583531"/>
                </a:lnTo>
                <a:lnTo>
                  <a:pt x="915987" y="1584324"/>
                </a:lnTo>
                <a:lnTo>
                  <a:pt x="908844" y="1586705"/>
                </a:lnTo>
                <a:lnTo>
                  <a:pt x="903287" y="1590672"/>
                </a:lnTo>
                <a:lnTo>
                  <a:pt x="896937" y="1596226"/>
                </a:lnTo>
                <a:lnTo>
                  <a:pt x="893762" y="1603368"/>
                </a:lnTo>
                <a:lnTo>
                  <a:pt x="893762" y="1604151"/>
                </a:lnTo>
                <a:lnTo>
                  <a:pt x="890209" y="1606819"/>
                </a:lnTo>
                <a:lnTo>
                  <a:pt x="887035" y="1613967"/>
                </a:lnTo>
                <a:lnTo>
                  <a:pt x="887035" y="1621114"/>
                </a:lnTo>
                <a:lnTo>
                  <a:pt x="887829" y="1628261"/>
                </a:lnTo>
                <a:lnTo>
                  <a:pt x="891796" y="1636203"/>
                </a:lnTo>
                <a:lnTo>
                  <a:pt x="898936" y="1644938"/>
                </a:lnTo>
                <a:lnTo>
                  <a:pt x="906871" y="1652086"/>
                </a:lnTo>
                <a:lnTo>
                  <a:pt x="918772" y="1657645"/>
                </a:lnTo>
                <a:lnTo>
                  <a:pt x="928293" y="1663998"/>
                </a:lnTo>
                <a:lnTo>
                  <a:pt x="939401" y="1671940"/>
                </a:lnTo>
                <a:lnTo>
                  <a:pt x="950508" y="1683058"/>
                </a:lnTo>
                <a:lnTo>
                  <a:pt x="956856" y="1688617"/>
                </a:lnTo>
                <a:lnTo>
                  <a:pt x="962410" y="1697352"/>
                </a:lnTo>
                <a:lnTo>
                  <a:pt x="967170" y="1705294"/>
                </a:lnTo>
                <a:lnTo>
                  <a:pt x="971931" y="1714824"/>
                </a:lnTo>
                <a:lnTo>
                  <a:pt x="976691" y="1724354"/>
                </a:lnTo>
                <a:lnTo>
                  <a:pt x="979071" y="1736266"/>
                </a:lnTo>
                <a:lnTo>
                  <a:pt x="981452" y="1748178"/>
                </a:lnTo>
                <a:lnTo>
                  <a:pt x="983038" y="1760884"/>
                </a:lnTo>
                <a:lnTo>
                  <a:pt x="981452" y="1775179"/>
                </a:lnTo>
                <a:lnTo>
                  <a:pt x="979071" y="1791062"/>
                </a:lnTo>
                <a:lnTo>
                  <a:pt x="974311" y="1803769"/>
                </a:lnTo>
                <a:lnTo>
                  <a:pt x="970309" y="1814069"/>
                </a:lnTo>
                <a:lnTo>
                  <a:pt x="966787" y="1819190"/>
                </a:lnTo>
                <a:lnTo>
                  <a:pt x="958850" y="1831092"/>
                </a:lnTo>
                <a:lnTo>
                  <a:pt x="948531" y="1842994"/>
                </a:lnTo>
                <a:lnTo>
                  <a:pt x="936625" y="1854102"/>
                </a:lnTo>
                <a:lnTo>
                  <a:pt x="923131" y="1862037"/>
                </a:lnTo>
                <a:lnTo>
                  <a:pt x="908844" y="1871558"/>
                </a:lnTo>
                <a:lnTo>
                  <a:pt x="893762" y="1878699"/>
                </a:lnTo>
                <a:lnTo>
                  <a:pt x="877887" y="1885047"/>
                </a:lnTo>
                <a:lnTo>
                  <a:pt x="861219" y="1889808"/>
                </a:lnTo>
                <a:lnTo>
                  <a:pt x="843756" y="1892982"/>
                </a:lnTo>
                <a:lnTo>
                  <a:pt x="826294" y="1895362"/>
                </a:lnTo>
                <a:lnTo>
                  <a:pt x="807244" y="1896949"/>
                </a:lnTo>
                <a:lnTo>
                  <a:pt x="788987" y="1895362"/>
                </a:lnTo>
                <a:lnTo>
                  <a:pt x="769937" y="1892982"/>
                </a:lnTo>
                <a:lnTo>
                  <a:pt x="753269" y="1889808"/>
                </a:lnTo>
                <a:lnTo>
                  <a:pt x="736600" y="1885047"/>
                </a:lnTo>
                <a:lnTo>
                  <a:pt x="720725" y="1878699"/>
                </a:lnTo>
                <a:lnTo>
                  <a:pt x="704850" y="1871558"/>
                </a:lnTo>
                <a:lnTo>
                  <a:pt x="692150" y="1862037"/>
                </a:lnTo>
                <a:lnTo>
                  <a:pt x="678656" y="1854102"/>
                </a:lnTo>
                <a:lnTo>
                  <a:pt x="666750" y="1842994"/>
                </a:lnTo>
                <a:lnTo>
                  <a:pt x="656431" y="1831092"/>
                </a:lnTo>
                <a:lnTo>
                  <a:pt x="646906" y="1819190"/>
                </a:lnTo>
                <a:lnTo>
                  <a:pt x="639762" y="1806494"/>
                </a:lnTo>
                <a:lnTo>
                  <a:pt x="633412" y="1793799"/>
                </a:lnTo>
                <a:lnTo>
                  <a:pt x="628650" y="1779517"/>
                </a:lnTo>
                <a:lnTo>
                  <a:pt x="626269" y="1765234"/>
                </a:lnTo>
                <a:lnTo>
                  <a:pt x="625475" y="1749365"/>
                </a:lnTo>
                <a:lnTo>
                  <a:pt x="625475" y="1736670"/>
                </a:lnTo>
                <a:lnTo>
                  <a:pt x="627856" y="1724768"/>
                </a:lnTo>
                <a:lnTo>
                  <a:pt x="631031" y="1713659"/>
                </a:lnTo>
                <a:lnTo>
                  <a:pt x="635000" y="1703344"/>
                </a:lnTo>
                <a:lnTo>
                  <a:pt x="636755" y="1700128"/>
                </a:lnTo>
                <a:lnTo>
                  <a:pt x="638696" y="1697352"/>
                </a:lnTo>
                <a:lnTo>
                  <a:pt x="645044" y="1688617"/>
                </a:lnTo>
                <a:lnTo>
                  <a:pt x="650597" y="1683058"/>
                </a:lnTo>
                <a:lnTo>
                  <a:pt x="662499" y="1671940"/>
                </a:lnTo>
                <a:lnTo>
                  <a:pt x="672020" y="1663998"/>
                </a:lnTo>
                <a:lnTo>
                  <a:pt x="683127" y="1657645"/>
                </a:lnTo>
                <a:lnTo>
                  <a:pt x="693442" y="1652086"/>
                </a:lnTo>
                <a:lnTo>
                  <a:pt x="702963" y="1644938"/>
                </a:lnTo>
                <a:lnTo>
                  <a:pt x="709310" y="1636203"/>
                </a:lnTo>
                <a:lnTo>
                  <a:pt x="713623" y="1629008"/>
                </a:lnTo>
                <a:lnTo>
                  <a:pt x="715962" y="1626378"/>
                </a:lnTo>
                <a:lnTo>
                  <a:pt x="720725" y="1617650"/>
                </a:lnTo>
                <a:lnTo>
                  <a:pt x="721519" y="1610509"/>
                </a:lnTo>
                <a:lnTo>
                  <a:pt x="720725" y="1603368"/>
                </a:lnTo>
                <a:lnTo>
                  <a:pt x="716756" y="1596226"/>
                </a:lnTo>
                <a:lnTo>
                  <a:pt x="711994" y="1590672"/>
                </a:lnTo>
                <a:lnTo>
                  <a:pt x="706437" y="1586705"/>
                </a:lnTo>
                <a:lnTo>
                  <a:pt x="697706" y="1584324"/>
                </a:lnTo>
                <a:lnTo>
                  <a:pt x="689769" y="1583531"/>
                </a:lnTo>
                <a:lnTo>
                  <a:pt x="680244" y="1581944"/>
                </a:lnTo>
                <a:lnTo>
                  <a:pt x="361156" y="1581944"/>
                </a:lnTo>
                <a:lnTo>
                  <a:pt x="361156" y="1581151"/>
                </a:lnTo>
                <a:lnTo>
                  <a:pt x="0" y="1581151"/>
                </a:lnTo>
                <a:lnTo>
                  <a:pt x="0" y="902739"/>
                </a:lnTo>
                <a:lnTo>
                  <a:pt x="0" y="893218"/>
                </a:lnTo>
                <a:lnTo>
                  <a:pt x="2381" y="885283"/>
                </a:lnTo>
                <a:lnTo>
                  <a:pt x="3969" y="878142"/>
                </a:lnTo>
                <a:lnTo>
                  <a:pt x="7144" y="873381"/>
                </a:lnTo>
                <a:lnTo>
                  <a:pt x="11112" y="868620"/>
                </a:lnTo>
                <a:lnTo>
                  <a:pt x="14287" y="864653"/>
                </a:lnTo>
                <a:lnTo>
                  <a:pt x="16628" y="863483"/>
                </a:lnTo>
                <a:lnTo>
                  <a:pt x="19843" y="863483"/>
                </a:lnTo>
                <a:lnTo>
                  <a:pt x="26193" y="864276"/>
                </a:lnTo>
                <a:lnTo>
                  <a:pt x="30956" y="866655"/>
                </a:lnTo>
                <a:lnTo>
                  <a:pt x="36512" y="870620"/>
                </a:lnTo>
                <a:lnTo>
                  <a:pt x="41275" y="875379"/>
                </a:lnTo>
                <a:lnTo>
                  <a:pt x="46037" y="880930"/>
                </a:lnTo>
                <a:lnTo>
                  <a:pt x="51593" y="888068"/>
                </a:lnTo>
                <a:lnTo>
                  <a:pt x="55562" y="896792"/>
                </a:lnTo>
                <a:lnTo>
                  <a:pt x="61118" y="906309"/>
                </a:lnTo>
                <a:lnTo>
                  <a:pt x="69850" y="916619"/>
                </a:lnTo>
                <a:lnTo>
                  <a:pt x="80168" y="928515"/>
                </a:lnTo>
                <a:lnTo>
                  <a:pt x="86518" y="934067"/>
                </a:lnTo>
                <a:lnTo>
                  <a:pt x="94456" y="940412"/>
                </a:lnTo>
                <a:lnTo>
                  <a:pt x="103187" y="945170"/>
                </a:lnTo>
                <a:lnTo>
                  <a:pt x="112712" y="949929"/>
                </a:lnTo>
                <a:lnTo>
                  <a:pt x="122237" y="954687"/>
                </a:lnTo>
                <a:lnTo>
                  <a:pt x="134143" y="957066"/>
                </a:lnTo>
                <a:lnTo>
                  <a:pt x="146050" y="959446"/>
                </a:lnTo>
                <a:lnTo>
                  <a:pt x="158750" y="960239"/>
                </a:lnTo>
                <a:lnTo>
                  <a:pt x="173037" y="959446"/>
                </a:lnTo>
                <a:lnTo>
                  <a:pt x="188118" y="955480"/>
                </a:lnTo>
                <a:lnTo>
                  <a:pt x="195484" y="953748"/>
                </a:lnTo>
                <a:lnTo>
                  <a:pt x="196850" y="953521"/>
                </a:lnTo>
                <a:lnTo>
                  <a:pt x="197804" y="953203"/>
                </a:lnTo>
                <a:lnTo>
                  <a:pt x="201612" y="952308"/>
                </a:lnTo>
                <a:lnTo>
                  <a:pt x="203860" y="951185"/>
                </a:lnTo>
                <a:lnTo>
                  <a:pt x="211137" y="948760"/>
                </a:lnTo>
                <a:lnTo>
                  <a:pt x="224631" y="943206"/>
                </a:lnTo>
                <a:lnTo>
                  <a:pt x="237331" y="934478"/>
                </a:lnTo>
                <a:lnTo>
                  <a:pt x="249237" y="924956"/>
                </a:lnTo>
                <a:lnTo>
                  <a:pt x="260350" y="915435"/>
                </a:lnTo>
                <a:lnTo>
                  <a:pt x="270669" y="903533"/>
                </a:lnTo>
                <a:lnTo>
                  <a:pt x="280194" y="890837"/>
                </a:lnTo>
                <a:lnTo>
                  <a:pt x="288131" y="876555"/>
                </a:lnTo>
                <a:lnTo>
                  <a:pt x="295275" y="861479"/>
                </a:lnTo>
                <a:lnTo>
                  <a:pt x="302419" y="845610"/>
                </a:lnTo>
                <a:lnTo>
                  <a:pt x="307181" y="828947"/>
                </a:lnTo>
                <a:lnTo>
                  <a:pt x="311150" y="811491"/>
                </a:lnTo>
                <a:lnTo>
                  <a:pt x="313531" y="793241"/>
                </a:lnTo>
                <a:lnTo>
                  <a:pt x="313531" y="774991"/>
                </a:lnTo>
                <a:lnTo>
                  <a:pt x="313531" y="756742"/>
                </a:lnTo>
                <a:lnTo>
                  <a:pt x="311150" y="737699"/>
                </a:lnTo>
                <a:lnTo>
                  <a:pt x="307181" y="721036"/>
                </a:lnTo>
                <a:lnTo>
                  <a:pt x="302419" y="703580"/>
                </a:lnTo>
                <a:lnTo>
                  <a:pt x="295275" y="687710"/>
                </a:lnTo>
                <a:lnTo>
                  <a:pt x="288131" y="672635"/>
                </a:lnTo>
                <a:lnTo>
                  <a:pt x="280194" y="659939"/>
                </a:lnTo>
                <a:lnTo>
                  <a:pt x="270669" y="646450"/>
                </a:lnTo>
                <a:lnTo>
                  <a:pt x="260350" y="634548"/>
                </a:lnTo>
                <a:lnTo>
                  <a:pt x="249237" y="624233"/>
                </a:lnTo>
                <a:lnTo>
                  <a:pt x="237331" y="614712"/>
                </a:lnTo>
                <a:lnTo>
                  <a:pt x="224631" y="607571"/>
                </a:lnTo>
                <a:lnTo>
                  <a:pt x="211137" y="601223"/>
                </a:lnTo>
                <a:lnTo>
                  <a:pt x="196850" y="596462"/>
                </a:lnTo>
                <a:lnTo>
                  <a:pt x="182562" y="594082"/>
                </a:lnTo>
                <a:lnTo>
                  <a:pt x="167481" y="593288"/>
                </a:lnTo>
                <a:lnTo>
                  <a:pt x="153987" y="593288"/>
                </a:lnTo>
                <a:lnTo>
                  <a:pt x="142875" y="595669"/>
                </a:lnTo>
                <a:lnTo>
                  <a:pt x="131762" y="598843"/>
                </a:lnTo>
                <a:lnTo>
                  <a:pt x="121444" y="602810"/>
                </a:lnTo>
                <a:lnTo>
                  <a:pt x="121366" y="602849"/>
                </a:lnTo>
                <a:lnTo>
                  <a:pt x="112712" y="605731"/>
                </a:lnTo>
                <a:lnTo>
                  <a:pt x="103187" y="610490"/>
                </a:lnTo>
                <a:lnTo>
                  <a:pt x="94456" y="616834"/>
                </a:lnTo>
                <a:lnTo>
                  <a:pt x="86518" y="621593"/>
                </a:lnTo>
                <a:lnTo>
                  <a:pt x="80168" y="628730"/>
                </a:lnTo>
                <a:lnTo>
                  <a:pt x="69850" y="639041"/>
                </a:lnTo>
                <a:lnTo>
                  <a:pt x="61118" y="650144"/>
                </a:lnTo>
                <a:lnTo>
                  <a:pt x="55562" y="659661"/>
                </a:lnTo>
                <a:lnTo>
                  <a:pt x="51593" y="667591"/>
                </a:lnTo>
                <a:lnTo>
                  <a:pt x="46037" y="674729"/>
                </a:lnTo>
                <a:lnTo>
                  <a:pt x="41275" y="680281"/>
                </a:lnTo>
                <a:lnTo>
                  <a:pt x="36512" y="685039"/>
                </a:lnTo>
                <a:lnTo>
                  <a:pt x="31863" y="688358"/>
                </a:lnTo>
                <a:lnTo>
                  <a:pt x="28575" y="689297"/>
                </a:lnTo>
                <a:lnTo>
                  <a:pt x="23812" y="689297"/>
                </a:lnTo>
                <a:lnTo>
                  <a:pt x="19050" y="687710"/>
                </a:lnTo>
                <a:lnTo>
                  <a:pt x="14287" y="685330"/>
                </a:lnTo>
                <a:lnTo>
                  <a:pt x="11112" y="682156"/>
                </a:lnTo>
                <a:lnTo>
                  <a:pt x="7144" y="677395"/>
                </a:lnTo>
                <a:lnTo>
                  <a:pt x="3969" y="671841"/>
                </a:lnTo>
                <a:lnTo>
                  <a:pt x="2381" y="664700"/>
                </a:lnTo>
                <a:lnTo>
                  <a:pt x="0" y="655972"/>
                </a:lnTo>
                <a:lnTo>
                  <a:pt x="0" y="648037"/>
                </a:lnTo>
                <a:lnTo>
                  <a:pt x="0" y="10886"/>
                </a:lnTo>
                <a:lnTo>
                  <a:pt x="434181" y="10886"/>
                </a:lnTo>
                <a:lnTo>
                  <a:pt x="434181" y="9299"/>
                </a:lnTo>
                <a:lnTo>
                  <a:pt x="633412" y="9299"/>
                </a:lnTo>
                <a:lnTo>
                  <a:pt x="642937" y="9299"/>
                </a:lnTo>
                <a:lnTo>
                  <a:pt x="652462" y="6919"/>
                </a:lnTo>
                <a:lnTo>
                  <a:pt x="659606" y="4538"/>
                </a:lnTo>
                <a:lnTo>
                  <a:pt x="665956" y="1364"/>
                </a:lnTo>
                <a:lnTo>
                  <a:pt x="667548" y="0"/>
                </a:lnTo>
                <a:lnTo>
                  <a:pt x="670719" y="0"/>
                </a:lnTo>
                <a:lnTo>
                  <a:pt x="680244" y="1587"/>
                </a:lnTo>
                <a:lnTo>
                  <a:pt x="688181" y="2380"/>
                </a:lnTo>
                <a:lnTo>
                  <a:pt x="696912" y="4761"/>
                </a:lnTo>
                <a:lnTo>
                  <a:pt x="702469" y="8728"/>
                </a:lnTo>
                <a:lnTo>
                  <a:pt x="707231" y="14282"/>
                </a:lnTo>
                <a:lnTo>
                  <a:pt x="711200" y="21424"/>
                </a:lnTo>
                <a:lnTo>
                  <a:pt x="711994" y="28565"/>
                </a:lnTo>
                <a:lnTo>
                  <a:pt x="711200" y="35706"/>
                </a:lnTo>
                <a:lnTo>
                  <a:pt x="706437" y="44434"/>
                </a:lnTo>
                <a:lnTo>
                  <a:pt x="700087" y="51575"/>
                </a:lnTo>
                <a:lnTo>
                  <a:pt x="690562" y="58716"/>
                </a:lnTo>
                <a:lnTo>
                  <a:pt x="683085" y="63891"/>
                </a:lnTo>
                <a:lnTo>
                  <a:pt x="678656" y="66105"/>
                </a:lnTo>
                <a:lnTo>
                  <a:pt x="676469" y="67744"/>
                </a:lnTo>
                <a:lnTo>
                  <a:pt x="669131" y="71412"/>
                </a:lnTo>
                <a:lnTo>
                  <a:pt x="659606" y="78553"/>
                </a:lnTo>
                <a:lnTo>
                  <a:pt x="647700" y="89661"/>
                </a:lnTo>
                <a:lnTo>
                  <a:pt x="642144" y="96803"/>
                </a:lnTo>
                <a:lnTo>
                  <a:pt x="635794" y="103944"/>
                </a:lnTo>
                <a:lnTo>
                  <a:pt x="630237" y="112672"/>
                </a:lnTo>
                <a:lnTo>
                  <a:pt x="625475" y="121400"/>
                </a:lnTo>
                <a:lnTo>
                  <a:pt x="621506" y="131715"/>
                </a:lnTo>
                <a:lnTo>
                  <a:pt x="618331" y="142824"/>
                </a:lnTo>
                <a:lnTo>
                  <a:pt x="615950" y="154726"/>
                </a:lnTo>
                <a:lnTo>
                  <a:pt x="615950" y="167421"/>
                </a:lnTo>
                <a:lnTo>
                  <a:pt x="616744" y="183290"/>
                </a:lnTo>
                <a:lnTo>
                  <a:pt x="619125" y="197573"/>
                </a:lnTo>
                <a:lnTo>
                  <a:pt x="623887" y="211855"/>
                </a:lnTo>
                <a:lnTo>
                  <a:pt x="630237" y="224550"/>
                </a:lnTo>
                <a:lnTo>
                  <a:pt x="637381" y="237246"/>
                </a:lnTo>
                <a:lnTo>
                  <a:pt x="646906" y="249148"/>
                </a:lnTo>
                <a:lnTo>
                  <a:pt x="657225" y="261050"/>
                </a:lnTo>
                <a:lnTo>
                  <a:pt x="669131" y="272158"/>
                </a:lnTo>
                <a:lnTo>
                  <a:pt x="682625" y="280093"/>
                </a:lnTo>
                <a:lnTo>
                  <a:pt x="695325" y="289614"/>
                </a:lnTo>
                <a:lnTo>
                  <a:pt x="711200" y="296755"/>
                </a:lnTo>
                <a:lnTo>
                  <a:pt x="727075" y="303103"/>
                </a:lnTo>
                <a:lnTo>
                  <a:pt x="743744" y="307864"/>
                </a:lnTo>
                <a:lnTo>
                  <a:pt x="760412" y="311038"/>
                </a:lnTo>
                <a:lnTo>
                  <a:pt x="779462" y="313418"/>
                </a:lnTo>
                <a:lnTo>
                  <a:pt x="797719" y="315005"/>
                </a:lnTo>
                <a:lnTo>
                  <a:pt x="816769" y="313418"/>
                </a:lnTo>
                <a:lnTo>
                  <a:pt x="834231" y="311038"/>
                </a:lnTo>
                <a:lnTo>
                  <a:pt x="851694" y="307864"/>
                </a:lnTo>
                <a:lnTo>
                  <a:pt x="868362" y="303103"/>
                </a:lnTo>
                <a:lnTo>
                  <a:pt x="884237" y="296755"/>
                </a:lnTo>
                <a:lnTo>
                  <a:pt x="899319" y="289614"/>
                </a:lnTo>
                <a:lnTo>
                  <a:pt x="903451" y="286860"/>
                </a:lnTo>
                <a:lnTo>
                  <a:pt x="908844" y="284307"/>
                </a:lnTo>
                <a:lnTo>
                  <a:pt x="923131" y="274786"/>
                </a:lnTo>
                <a:lnTo>
                  <a:pt x="936625" y="266851"/>
                </a:lnTo>
                <a:lnTo>
                  <a:pt x="948531" y="255743"/>
                </a:lnTo>
                <a:lnTo>
                  <a:pt x="958850" y="243841"/>
                </a:lnTo>
                <a:lnTo>
                  <a:pt x="966787" y="231939"/>
                </a:lnTo>
                <a:lnTo>
                  <a:pt x="975519" y="219243"/>
                </a:lnTo>
                <a:lnTo>
                  <a:pt x="981075" y="206548"/>
                </a:lnTo>
                <a:lnTo>
                  <a:pt x="985837" y="192266"/>
                </a:lnTo>
                <a:lnTo>
                  <a:pt x="988219" y="177983"/>
                </a:lnTo>
                <a:lnTo>
                  <a:pt x="989806" y="162114"/>
                </a:lnTo>
                <a:lnTo>
                  <a:pt x="988219" y="149419"/>
                </a:lnTo>
                <a:lnTo>
                  <a:pt x="985837" y="137517"/>
                </a:lnTo>
                <a:lnTo>
                  <a:pt x="983456" y="126408"/>
                </a:lnTo>
                <a:lnTo>
                  <a:pt x="978694" y="116093"/>
                </a:lnTo>
                <a:lnTo>
                  <a:pt x="973931" y="107365"/>
                </a:lnTo>
                <a:lnTo>
                  <a:pt x="969169" y="98637"/>
                </a:lnTo>
                <a:lnTo>
                  <a:pt x="963612" y="91496"/>
                </a:lnTo>
                <a:lnTo>
                  <a:pt x="957262" y="84354"/>
                </a:lnTo>
                <a:lnTo>
                  <a:pt x="946150" y="73246"/>
                </a:lnTo>
                <a:lnTo>
                  <a:pt x="935037" y="66105"/>
                </a:lnTo>
                <a:lnTo>
                  <a:pt x="925512" y="60551"/>
                </a:lnTo>
                <a:lnTo>
                  <a:pt x="913606" y="53409"/>
                </a:lnTo>
                <a:lnTo>
                  <a:pt x="905669" y="46268"/>
                </a:lnTo>
                <a:lnTo>
                  <a:pt x="898525" y="39127"/>
                </a:lnTo>
                <a:lnTo>
                  <a:pt x="894556" y="30399"/>
                </a:lnTo>
                <a:lnTo>
                  <a:pt x="893762" y="23258"/>
                </a:lnTo>
                <a:lnTo>
                  <a:pt x="893762" y="16117"/>
                </a:lnTo>
                <a:lnTo>
                  <a:pt x="896793" y="9299"/>
                </a:lnTo>
                <a:lnTo>
                  <a:pt x="1208087" y="9299"/>
                </a:lnTo>
                <a:lnTo>
                  <a:pt x="1208087" y="10886"/>
                </a:lnTo>
                <a:lnTo>
                  <a:pt x="1568450" y="10886"/>
                </a:lnTo>
                <a:close/>
              </a:path>
            </a:pathLst>
          </a:custGeom>
          <a:ln>
            <a:solidFill>
              <a:schemeClr val="tx1">
                <a:lumMod val="50000"/>
                <a:lumOff val="50000"/>
              </a:schemeClr>
            </a:solidFill>
          </a:ln>
        </p:spPr>
      </p:pic>
      <p:pic>
        <p:nvPicPr>
          <p:cNvPr id="9" name="Picture 8">
            <a:extLst>
              <a:ext uri="{FF2B5EF4-FFF2-40B4-BE49-F238E27FC236}">
                <a16:creationId xmlns:a16="http://schemas.microsoft.com/office/drawing/2014/main" id="{7E2F5962-E9F0-4396-BA69-08B0323A646A}"/>
              </a:ext>
            </a:extLst>
          </p:cNvPr>
          <p:cNvPicPr>
            <a:picLocks noChangeAspect="1"/>
          </p:cNvPicPr>
          <p:nvPr/>
        </p:nvPicPr>
        <p:blipFill rotWithShape="1">
          <a:blip r:embed="rId2"/>
          <a:srcRect l="31955" t="381" r="33095" b="74941"/>
          <a:stretch/>
        </p:blipFill>
        <p:spPr>
          <a:xfrm rot="20166441">
            <a:off x="507705" y="4713149"/>
            <a:ext cx="1750613" cy="1936594"/>
          </a:xfrm>
          <a:custGeom>
            <a:avLst/>
            <a:gdLst>
              <a:gd name="connsiteX0" fmla="*/ 1884679 w 1884679"/>
              <a:gd name="connsiteY0" fmla="*/ 1 h 1571626"/>
              <a:gd name="connsiteX1" fmla="*/ 1884679 w 1884679"/>
              <a:gd name="connsiteY1" fmla="*/ 703473 h 1571626"/>
              <a:gd name="connsiteX2" fmla="*/ 1880839 w 1884679"/>
              <a:gd name="connsiteY2" fmla="*/ 709614 h 1571626"/>
              <a:gd name="connsiteX3" fmla="*/ 1877663 w 1884679"/>
              <a:gd name="connsiteY3" fmla="*/ 714376 h 1571626"/>
              <a:gd name="connsiteX4" fmla="*/ 1873692 w 1884679"/>
              <a:gd name="connsiteY4" fmla="*/ 717551 h 1571626"/>
              <a:gd name="connsiteX5" fmla="*/ 1868928 w 1884679"/>
              <a:gd name="connsiteY5" fmla="*/ 719932 h 1571626"/>
              <a:gd name="connsiteX6" fmla="*/ 1864351 w 1884679"/>
              <a:gd name="connsiteY6" fmla="*/ 721457 h 1571626"/>
              <a:gd name="connsiteX7" fmla="*/ 1858485 w 1884679"/>
              <a:gd name="connsiteY7" fmla="*/ 719502 h 1571626"/>
              <a:gd name="connsiteX8" fmla="*/ 1851341 w 1884679"/>
              <a:gd name="connsiteY8" fmla="*/ 714737 h 1571626"/>
              <a:gd name="connsiteX9" fmla="*/ 1844991 w 1884679"/>
              <a:gd name="connsiteY9" fmla="*/ 708384 h 1571626"/>
              <a:gd name="connsiteX10" fmla="*/ 1838641 w 1884679"/>
              <a:gd name="connsiteY10" fmla="*/ 700442 h 1571626"/>
              <a:gd name="connsiteX11" fmla="*/ 1833085 w 1884679"/>
              <a:gd name="connsiteY11" fmla="*/ 689324 h 1571626"/>
              <a:gd name="connsiteX12" fmla="*/ 1826735 w 1884679"/>
              <a:gd name="connsiteY12" fmla="*/ 679000 h 1571626"/>
              <a:gd name="connsiteX13" fmla="*/ 1819591 w 1884679"/>
              <a:gd name="connsiteY13" fmla="*/ 669470 h 1571626"/>
              <a:gd name="connsiteX14" fmla="*/ 1809273 w 1884679"/>
              <a:gd name="connsiteY14" fmla="*/ 657558 h 1571626"/>
              <a:gd name="connsiteX15" fmla="*/ 1802129 w 1884679"/>
              <a:gd name="connsiteY15" fmla="*/ 651999 h 1571626"/>
              <a:gd name="connsiteX16" fmla="*/ 1794985 w 1884679"/>
              <a:gd name="connsiteY16" fmla="*/ 645646 h 1571626"/>
              <a:gd name="connsiteX17" fmla="*/ 1785460 w 1884679"/>
              <a:gd name="connsiteY17" fmla="*/ 640881 h 1571626"/>
              <a:gd name="connsiteX18" fmla="*/ 1776729 w 1884679"/>
              <a:gd name="connsiteY18" fmla="*/ 635322 h 1571626"/>
              <a:gd name="connsiteX19" fmla="*/ 1766410 w 1884679"/>
              <a:gd name="connsiteY19" fmla="*/ 631351 h 1571626"/>
              <a:gd name="connsiteX20" fmla="*/ 1755298 w 1884679"/>
              <a:gd name="connsiteY20" fmla="*/ 628175 h 1571626"/>
              <a:gd name="connsiteX21" fmla="*/ 1743391 w 1884679"/>
              <a:gd name="connsiteY21" fmla="*/ 626586 h 1571626"/>
              <a:gd name="connsiteX22" fmla="*/ 1730691 w 1884679"/>
              <a:gd name="connsiteY22" fmla="*/ 625792 h 1571626"/>
              <a:gd name="connsiteX23" fmla="*/ 1728300 w 1884679"/>
              <a:gd name="connsiteY23" fmla="*/ 625917 h 1571626"/>
              <a:gd name="connsiteX24" fmla="*/ 1721228 w 1884679"/>
              <a:gd name="connsiteY24" fmla="*/ 625476 h 1571626"/>
              <a:gd name="connsiteX25" fmla="*/ 1706935 w 1884679"/>
              <a:gd name="connsiteY25" fmla="*/ 626270 h 1571626"/>
              <a:gd name="connsiteX26" fmla="*/ 1691053 w 1884679"/>
              <a:gd name="connsiteY26" fmla="*/ 628651 h 1571626"/>
              <a:gd name="connsiteX27" fmla="*/ 1678348 w 1884679"/>
              <a:gd name="connsiteY27" fmla="*/ 633414 h 1571626"/>
              <a:gd name="connsiteX28" fmla="*/ 1664054 w 1884679"/>
              <a:gd name="connsiteY28" fmla="*/ 639764 h 1571626"/>
              <a:gd name="connsiteX29" fmla="*/ 1650555 w 1884679"/>
              <a:gd name="connsiteY29" fmla="*/ 647701 h 1571626"/>
              <a:gd name="connsiteX30" fmla="*/ 1638644 w 1884679"/>
              <a:gd name="connsiteY30" fmla="*/ 656432 h 1571626"/>
              <a:gd name="connsiteX31" fmla="*/ 1628320 w 1884679"/>
              <a:gd name="connsiteY31" fmla="*/ 666751 h 1571626"/>
              <a:gd name="connsiteX32" fmla="*/ 1617997 w 1884679"/>
              <a:gd name="connsiteY32" fmla="*/ 678657 h 1571626"/>
              <a:gd name="connsiteX33" fmla="*/ 1608468 w 1884679"/>
              <a:gd name="connsiteY33" fmla="*/ 691357 h 1571626"/>
              <a:gd name="connsiteX34" fmla="*/ 1599733 w 1884679"/>
              <a:gd name="connsiteY34" fmla="*/ 705645 h 1571626"/>
              <a:gd name="connsiteX35" fmla="*/ 1592587 w 1884679"/>
              <a:gd name="connsiteY35" fmla="*/ 719932 h 1571626"/>
              <a:gd name="connsiteX36" fmla="*/ 1587028 w 1884679"/>
              <a:gd name="connsiteY36" fmla="*/ 736601 h 1571626"/>
              <a:gd name="connsiteX37" fmla="*/ 1580675 w 1884679"/>
              <a:gd name="connsiteY37" fmla="*/ 753270 h 1571626"/>
              <a:gd name="connsiteX38" fmla="*/ 1577499 w 1884679"/>
              <a:gd name="connsiteY38" fmla="*/ 771526 h 1571626"/>
              <a:gd name="connsiteX39" fmla="*/ 1575911 w 1884679"/>
              <a:gd name="connsiteY39" fmla="*/ 788989 h 1571626"/>
              <a:gd name="connsiteX40" fmla="*/ 1575117 w 1884679"/>
              <a:gd name="connsiteY40" fmla="*/ 808039 h 1571626"/>
              <a:gd name="connsiteX41" fmla="*/ 1575911 w 1884679"/>
              <a:gd name="connsiteY41" fmla="*/ 825501 h 1571626"/>
              <a:gd name="connsiteX42" fmla="*/ 1577499 w 1884679"/>
              <a:gd name="connsiteY42" fmla="*/ 843757 h 1571626"/>
              <a:gd name="connsiteX43" fmla="*/ 1580675 w 1884679"/>
              <a:gd name="connsiteY43" fmla="*/ 861220 h 1571626"/>
              <a:gd name="connsiteX44" fmla="*/ 1587028 w 1884679"/>
              <a:gd name="connsiteY44" fmla="*/ 877889 h 1571626"/>
              <a:gd name="connsiteX45" fmla="*/ 1592587 w 1884679"/>
              <a:gd name="connsiteY45" fmla="*/ 894557 h 1571626"/>
              <a:gd name="connsiteX46" fmla="*/ 1599733 w 1884679"/>
              <a:gd name="connsiteY46" fmla="*/ 908845 h 1571626"/>
              <a:gd name="connsiteX47" fmla="*/ 1608468 w 1884679"/>
              <a:gd name="connsiteY47" fmla="*/ 923132 h 1571626"/>
              <a:gd name="connsiteX48" fmla="*/ 1617997 w 1884679"/>
              <a:gd name="connsiteY48" fmla="*/ 935832 h 1571626"/>
              <a:gd name="connsiteX49" fmla="*/ 1628320 w 1884679"/>
              <a:gd name="connsiteY49" fmla="*/ 947739 h 1571626"/>
              <a:gd name="connsiteX50" fmla="*/ 1638644 w 1884679"/>
              <a:gd name="connsiteY50" fmla="*/ 958851 h 1571626"/>
              <a:gd name="connsiteX51" fmla="*/ 1650555 w 1884679"/>
              <a:gd name="connsiteY51" fmla="*/ 966789 h 1571626"/>
              <a:gd name="connsiteX52" fmla="*/ 1664054 w 1884679"/>
              <a:gd name="connsiteY52" fmla="*/ 975520 h 1571626"/>
              <a:gd name="connsiteX53" fmla="*/ 1678348 w 1884679"/>
              <a:gd name="connsiteY53" fmla="*/ 981076 h 1571626"/>
              <a:gd name="connsiteX54" fmla="*/ 1691053 w 1884679"/>
              <a:gd name="connsiteY54" fmla="*/ 985839 h 1571626"/>
              <a:gd name="connsiteX55" fmla="*/ 1706935 w 1884679"/>
              <a:gd name="connsiteY55" fmla="*/ 988220 h 1571626"/>
              <a:gd name="connsiteX56" fmla="*/ 1721228 w 1884679"/>
              <a:gd name="connsiteY56" fmla="*/ 989807 h 1571626"/>
              <a:gd name="connsiteX57" fmla="*/ 1723383 w 1884679"/>
              <a:gd name="connsiteY57" fmla="*/ 989538 h 1571626"/>
              <a:gd name="connsiteX58" fmla="*/ 1730691 w 1884679"/>
              <a:gd name="connsiteY58" fmla="*/ 990308 h 1571626"/>
              <a:gd name="connsiteX59" fmla="*/ 1743391 w 1884679"/>
              <a:gd name="connsiteY59" fmla="*/ 988719 h 1571626"/>
              <a:gd name="connsiteX60" fmla="*/ 1755298 w 1884679"/>
              <a:gd name="connsiteY60" fmla="*/ 987925 h 1571626"/>
              <a:gd name="connsiteX61" fmla="*/ 1766410 w 1884679"/>
              <a:gd name="connsiteY61" fmla="*/ 983954 h 1571626"/>
              <a:gd name="connsiteX62" fmla="*/ 1776729 w 1884679"/>
              <a:gd name="connsiteY62" fmla="*/ 980778 h 1571626"/>
              <a:gd name="connsiteX63" fmla="*/ 1785460 w 1884679"/>
              <a:gd name="connsiteY63" fmla="*/ 976013 h 1571626"/>
              <a:gd name="connsiteX64" fmla="*/ 1794985 w 1884679"/>
              <a:gd name="connsiteY64" fmla="*/ 969660 h 1571626"/>
              <a:gd name="connsiteX65" fmla="*/ 1802129 w 1884679"/>
              <a:gd name="connsiteY65" fmla="*/ 964101 h 1571626"/>
              <a:gd name="connsiteX66" fmla="*/ 1809273 w 1884679"/>
              <a:gd name="connsiteY66" fmla="*/ 957747 h 1571626"/>
              <a:gd name="connsiteX67" fmla="*/ 1819591 w 1884679"/>
              <a:gd name="connsiteY67" fmla="*/ 945835 h 1571626"/>
              <a:gd name="connsiteX68" fmla="*/ 1826735 w 1884679"/>
              <a:gd name="connsiteY68" fmla="*/ 936305 h 1571626"/>
              <a:gd name="connsiteX69" fmla="*/ 1833085 w 1884679"/>
              <a:gd name="connsiteY69" fmla="*/ 925981 h 1571626"/>
              <a:gd name="connsiteX70" fmla="*/ 1838641 w 1884679"/>
              <a:gd name="connsiteY70" fmla="*/ 914863 h 1571626"/>
              <a:gd name="connsiteX71" fmla="*/ 1844991 w 1884679"/>
              <a:gd name="connsiteY71" fmla="*/ 906922 h 1571626"/>
              <a:gd name="connsiteX72" fmla="*/ 1851341 w 1884679"/>
              <a:gd name="connsiteY72" fmla="*/ 900568 h 1571626"/>
              <a:gd name="connsiteX73" fmla="*/ 1858485 w 1884679"/>
              <a:gd name="connsiteY73" fmla="*/ 895804 h 1571626"/>
              <a:gd name="connsiteX74" fmla="*/ 1865573 w 1884679"/>
              <a:gd name="connsiteY74" fmla="*/ 893439 h 1571626"/>
              <a:gd name="connsiteX75" fmla="*/ 1868928 w 1884679"/>
              <a:gd name="connsiteY75" fmla="*/ 894557 h 1571626"/>
              <a:gd name="connsiteX76" fmla="*/ 1873692 w 1884679"/>
              <a:gd name="connsiteY76" fmla="*/ 896939 h 1571626"/>
              <a:gd name="connsiteX77" fmla="*/ 1877663 w 1884679"/>
              <a:gd name="connsiteY77" fmla="*/ 900114 h 1571626"/>
              <a:gd name="connsiteX78" fmla="*/ 1880839 w 1884679"/>
              <a:gd name="connsiteY78" fmla="*/ 904876 h 1571626"/>
              <a:gd name="connsiteX79" fmla="*/ 1884679 w 1884679"/>
              <a:gd name="connsiteY79" fmla="*/ 911016 h 1571626"/>
              <a:gd name="connsiteX80" fmla="*/ 1884679 w 1884679"/>
              <a:gd name="connsiteY80" fmla="*/ 1571626 h 1571626"/>
              <a:gd name="connsiteX81" fmla="*/ 1177655 w 1884679"/>
              <a:gd name="connsiteY81" fmla="*/ 1571625 h 1571626"/>
              <a:gd name="connsiteX82" fmla="*/ 1175067 w 1884679"/>
              <a:gd name="connsiteY82" fmla="*/ 1569408 h 1571626"/>
              <a:gd name="connsiteX83" fmla="*/ 1171098 w 1884679"/>
              <a:gd name="connsiteY83" fmla="*/ 1562267 h 1571626"/>
              <a:gd name="connsiteX84" fmla="*/ 1171098 w 1884679"/>
              <a:gd name="connsiteY84" fmla="*/ 1555126 h 1571626"/>
              <a:gd name="connsiteX85" fmla="*/ 1172686 w 1884679"/>
              <a:gd name="connsiteY85" fmla="*/ 1547191 h 1571626"/>
              <a:gd name="connsiteX86" fmla="*/ 1175861 w 1884679"/>
              <a:gd name="connsiteY86" fmla="*/ 1540050 h 1571626"/>
              <a:gd name="connsiteX87" fmla="*/ 1183004 w 1884679"/>
              <a:gd name="connsiteY87" fmla="*/ 1531322 h 1571626"/>
              <a:gd name="connsiteX88" fmla="*/ 1191736 w 1884679"/>
              <a:gd name="connsiteY88" fmla="*/ 1524181 h 1571626"/>
              <a:gd name="connsiteX89" fmla="*/ 1203642 w 1884679"/>
              <a:gd name="connsiteY89" fmla="*/ 1518627 h 1571626"/>
              <a:gd name="connsiteX90" fmla="*/ 1213961 w 1884679"/>
              <a:gd name="connsiteY90" fmla="*/ 1512279 h 1571626"/>
              <a:gd name="connsiteX91" fmla="*/ 1223486 w 1884679"/>
              <a:gd name="connsiteY91" fmla="*/ 1504344 h 1571626"/>
              <a:gd name="connsiteX92" fmla="*/ 1235392 w 1884679"/>
              <a:gd name="connsiteY92" fmla="*/ 1493236 h 1571626"/>
              <a:gd name="connsiteX93" fmla="*/ 1241742 w 1884679"/>
              <a:gd name="connsiteY93" fmla="*/ 1486095 h 1571626"/>
              <a:gd name="connsiteX94" fmla="*/ 1247298 w 1884679"/>
              <a:gd name="connsiteY94" fmla="*/ 1478954 h 1571626"/>
              <a:gd name="connsiteX95" fmla="*/ 1252061 w 1884679"/>
              <a:gd name="connsiteY95" fmla="*/ 1471019 h 1571626"/>
              <a:gd name="connsiteX96" fmla="*/ 1256823 w 1884679"/>
              <a:gd name="connsiteY96" fmla="*/ 1461497 h 1571626"/>
              <a:gd name="connsiteX97" fmla="*/ 1261586 w 1884679"/>
              <a:gd name="connsiteY97" fmla="*/ 1451976 h 1571626"/>
              <a:gd name="connsiteX98" fmla="*/ 1265554 w 1884679"/>
              <a:gd name="connsiteY98" fmla="*/ 1440074 h 1571626"/>
              <a:gd name="connsiteX99" fmla="*/ 1266348 w 1884679"/>
              <a:gd name="connsiteY99" fmla="*/ 1428172 h 1571626"/>
              <a:gd name="connsiteX100" fmla="*/ 1267936 w 1884679"/>
              <a:gd name="connsiteY100" fmla="*/ 1415476 h 1571626"/>
              <a:gd name="connsiteX101" fmla="*/ 1266348 w 1884679"/>
              <a:gd name="connsiteY101" fmla="*/ 1401194 h 1571626"/>
              <a:gd name="connsiteX102" fmla="*/ 1263967 w 1884679"/>
              <a:gd name="connsiteY102" fmla="*/ 1385325 h 1571626"/>
              <a:gd name="connsiteX103" fmla="*/ 1259204 w 1884679"/>
              <a:gd name="connsiteY103" fmla="*/ 1371042 h 1571626"/>
              <a:gd name="connsiteX104" fmla="*/ 1253648 w 1884679"/>
              <a:gd name="connsiteY104" fmla="*/ 1358347 h 1571626"/>
              <a:gd name="connsiteX105" fmla="*/ 1244917 w 1884679"/>
              <a:gd name="connsiteY105" fmla="*/ 1344858 h 1571626"/>
              <a:gd name="connsiteX106" fmla="*/ 1236979 w 1884679"/>
              <a:gd name="connsiteY106" fmla="*/ 1333750 h 1571626"/>
              <a:gd name="connsiteX107" fmla="*/ 1225867 w 1884679"/>
              <a:gd name="connsiteY107" fmla="*/ 1322641 h 1571626"/>
              <a:gd name="connsiteX108" fmla="*/ 1213961 w 1884679"/>
              <a:gd name="connsiteY108" fmla="*/ 1312326 h 1571626"/>
              <a:gd name="connsiteX109" fmla="*/ 1201261 w 1884679"/>
              <a:gd name="connsiteY109" fmla="*/ 1302805 h 1571626"/>
              <a:gd name="connsiteX110" fmla="*/ 1186973 w 1884679"/>
              <a:gd name="connsiteY110" fmla="*/ 1294077 h 1571626"/>
              <a:gd name="connsiteX111" fmla="*/ 1172686 w 1884679"/>
              <a:gd name="connsiteY111" fmla="*/ 1286935 h 1571626"/>
              <a:gd name="connsiteX112" fmla="*/ 1156017 w 1884679"/>
              <a:gd name="connsiteY112" fmla="*/ 1281381 h 1571626"/>
              <a:gd name="connsiteX113" fmla="*/ 1139348 w 1884679"/>
              <a:gd name="connsiteY113" fmla="*/ 1275033 h 1571626"/>
              <a:gd name="connsiteX114" fmla="*/ 1133683 w 1884679"/>
              <a:gd name="connsiteY114" fmla="*/ 1274004 h 1571626"/>
              <a:gd name="connsiteX115" fmla="*/ 1129029 w 1884679"/>
              <a:gd name="connsiteY115" fmla="*/ 1272230 h 1571626"/>
              <a:gd name="connsiteX116" fmla="*/ 1111567 w 1884679"/>
              <a:gd name="connsiteY116" fmla="*/ 1269054 h 1571626"/>
              <a:gd name="connsiteX117" fmla="*/ 1093310 w 1884679"/>
              <a:gd name="connsiteY117" fmla="*/ 1266671 h 1571626"/>
              <a:gd name="connsiteX118" fmla="*/ 1074260 w 1884679"/>
              <a:gd name="connsiteY118" fmla="*/ 1266671 h 1571626"/>
              <a:gd name="connsiteX119" fmla="*/ 1056798 w 1884679"/>
              <a:gd name="connsiteY119" fmla="*/ 1266671 h 1571626"/>
              <a:gd name="connsiteX120" fmla="*/ 1037748 w 1884679"/>
              <a:gd name="connsiteY120" fmla="*/ 1269054 h 1571626"/>
              <a:gd name="connsiteX121" fmla="*/ 1021079 w 1884679"/>
              <a:gd name="connsiteY121" fmla="*/ 1272230 h 1571626"/>
              <a:gd name="connsiteX122" fmla="*/ 1003617 w 1884679"/>
              <a:gd name="connsiteY122" fmla="*/ 1278583 h 1571626"/>
              <a:gd name="connsiteX123" fmla="*/ 987742 w 1884679"/>
              <a:gd name="connsiteY123" fmla="*/ 1284142 h 1571626"/>
              <a:gd name="connsiteX124" fmla="*/ 972660 w 1884679"/>
              <a:gd name="connsiteY124" fmla="*/ 1291290 h 1571626"/>
              <a:gd name="connsiteX125" fmla="*/ 959167 w 1884679"/>
              <a:gd name="connsiteY125" fmla="*/ 1300026 h 1571626"/>
              <a:gd name="connsiteX126" fmla="*/ 946467 w 1884679"/>
              <a:gd name="connsiteY126" fmla="*/ 1309555 h 1571626"/>
              <a:gd name="connsiteX127" fmla="*/ 934560 w 1884679"/>
              <a:gd name="connsiteY127" fmla="*/ 1319879 h 1571626"/>
              <a:gd name="connsiteX128" fmla="*/ 923448 w 1884679"/>
              <a:gd name="connsiteY128" fmla="*/ 1330997 h 1571626"/>
              <a:gd name="connsiteX129" fmla="*/ 914717 w 1884679"/>
              <a:gd name="connsiteY129" fmla="*/ 1342116 h 1571626"/>
              <a:gd name="connsiteX130" fmla="*/ 907573 w 1884679"/>
              <a:gd name="connsiteY130" fmla="*/ 1355616 h 1571626"/>
              <a:gd name="connsiteX131" fmla="*/ 901223 w 1884679"/>
              <a:gd name="connsiteY131" fmla="*/ 1368323 h 1571626"/>
              <a:gd name="connsiteX132" fmla="*/ 896460 w 1884679"/>
              <a:gd name="connsiteY132" fmla="*/ 1382617 h 1571626"/>
              <a:gd name="connsiteX133" fmla="*/ 894079 w 1884679"/>
              <a:gd name="connsiteY133" fmla="*/ 1396912 h 1571626"/>
              <a:gd name="connsiteX134" fmla="*/ 893285 w 1884679"/>
              <a:gd name="connsiteY134" fmla="*/ 1412795 h 1571626"/>
              <a:gd name="connsiteX135" fmla="*/ 893285 w 1884679"/>
              <a:gd name="connsiteY135" fmla="*/ 1425501 h 1571626"/>
              <a:gd name="connsiteX136" fmla="*/ 895667 w 1884679"/>
              <a:gd name="connsiteY136" fmla="*/ 1437414 h 1571626"/>
              <a:gd name="connsiteX137" fmla="*/ 898842 w 1884679"/>
              <a:gd name="connsiteY137" fmla="*/ 1449326 h 1571626"/>
              <a:gd name="connsiteX138" fmla="*/ 902810 w 1884679"/>
              <a:gd name="connsiteY138" fmla="*/ 1458856 h 1571626"/>
              <a:gd name="connsiteX139" fmla="*/ 907573 w 1884679"/>
              <a:gd name="connsiteY139" fmla="*/ 1468386 h 1571626"/>
              <a:gd name="connsiteX140" fmla="*/ 913129 w 1884679"/>
              <a:gd name="connsiteY140" fmla="*/ 1476327 h 1571626"/>
              <a:gd name="connsiteX141" fmla="*/ 919479 w 1884679"/>
              <a:gd name="connsiteY141" fmla="*/ 1483474 h 1571626"/>
              <a:gd name="connsiteX142" fmla="*/ 925035 w 1884679"/>
              <a:gd name="connsiteY142" fmla="*/ 1490622 h 1571626"/>
              <a:gd name="connsiteX143" fmla="*/ 935354 w 1884679"/>
              <a:gd name="connsiteY143" fmla="*/ 1501740 h 1571626"/>
              <a:gd name="connsiteX144" fmla="*/ 946467 w 1884679"/>
              <a:gd name="connsiteY144" fmla="*/ 1509681 h 1571626"/>
              <a:gd name="connsiteX145" fmla="*/ 955992 w 1884679"/>
              <a:gd name="connsiteY145" fmla="*/ 1516035 h 1571626"/>
              <a:gd name="connsiteX146" fmla="*/ 967898 w 1884679"/>
              <a:gd name="connsiteY146" fmla="*/ 1521594 h 1571626"/>
              <a:gd name="connsiteX147" fmla="*/ 977423 w 1884679"/>
              <a:gd name="connsiteY147" fmla="*/ 1528741 h 1571626"/>
              <a:gd name="connsiteX148" fmla="*/ 982979 w 1884679"/>
              <a:gd name="connsiteY148" fmla="*/ 1537477 h 1571626"/>
              <a:gd name="connsiteX149" fmla="*/ 987742 w 1884679"/>
              <a:gd name="connsiteY149" fmla="*/ 1544624 h 1571626"/>
              <a:gd name="connsiteX150" fmla="*/ 989329 w 1884679"/>
              <a:gd name="connsiteY150" fmla="*/ 1552566 h 1571626"/>
              <a:gd name="connsiteX151" fmla="*/ 987742 w 1884679"/>
              <a:gd name="connsiteY151" fmla="*/ 1559713 h 1571626"/>
              <a:gd name="connsiteX152" fmla="*/ 984567 w 1884679"/>
              <a:gd name="connsiteY152" fmla="*/ 1566066 h 1571626"/>
              <a:gd name="connsiteX153" fmla="*/ 978217 w 1884679"/>
              <a:gd name="connsiteY153" fmla="*/ 1571625 h 1571626"/>
              <a:gd name="connsiteX154" fmla="*/ 311467 w 1884679"/>
              <a:gd name="connsiteY154" fmla="*/ 1571625 h 1571626"/>
              <a:gd name="connsiteX155" fmla="*/ 311467 w 1884679"/>
              <a:gd name="connsiteY155" fmla="*/ 1571492 h 1571626"/>
              <a:gd name="connsiteX156" fmla="*/ 314642 w 1884679"/>
              <a:gd name="connsiteY156" fmla="*/ 1571492 h 1571626"/>
              <a:gd name="connsiteX157" fmla="*/ 314643 w 1884679"/>
              <a:gd name="connsiteY157" fmla="*/ 935431 h 1571626"/>
              <a:gd name="connsiteX158" fmla="*/ 313848 w 1884679"/>
              <a:gd name="connsiteY158" fmla="*/ 925902 h 1571626"/>
              <a:gd name="connsiteX159" fmla="*/ 312259 w 1884679"/>
              <a:gd name="connsiteY159" fmla="*/ 917167 h 1571626"/>
              <a:gd name="connsiteX160" fmla="*/ 309875 w 1884679"/>
              <a:gd name="connsiteY160" fmla="*/ 910020 h 1571626"/>
              <a:gd name="connsiteX161" fmla="*/ 307492 w 1884679"/>
              <a:gd name="connsiteY161" fmla="*/ 905256 h 1571626"/>
              <a:gd name="connsiteX162" fmla="*/ 304314 w 1884679"/>
              <a:gd name="connsiteY162" fmla="*/ 900491 h 1571626"/>
              <a:gd name="connsiteX163" fmla="*/ 299546 w 1884679"/>
              <a:gd name="connsiteY163" fmla="*/ 897315 h 1571626"/>
              <a:gd name="connsiteX164" fmla="*/ 294779 w 1884679"/>
              <a:gd name="connsiteY164" fmla="*/ 894933 h 1571626"/>
              <a:gd name="connsiteX165" fmla="*/ 290012 w 1884679"/>
              <a:gd name="connsiteY165" fmla="*/ 893344 h 1571626"/>
              <a:gd name="connsiteX166" fmla="*/ 285244 w 1884679"/>
              <a:gd name="connsiteY166" fmla="*/ 893344 h 1571626"/>
              <a:gd name="connsiteX167" fmla="*/ 280477 w 1884679"/>
              <a:gd name="connsiteY167" fmla="*/ 893344 h 1571626"/>
              <a:gd name="connsiteX168" fmla="*/ 280274 w 1884679"/>
              <a:gd name="connsiteY168" fmla="*/ 893420 h 1571626"/>
              <a:gd name="connsiteX169" fmla="*/ 277336 w 1884679"/>
              <a:gd name="connsiteY169" fmla="*/ 893420 h 1571626"/>
              <a:gd name="connsiteX170" fmla="*/ 270986 w 1884679"/>
              <a:gd name="connsiteY170" fmla="*/ 895803 h 1571626"/>
              <a:gd name="connsiteX171" fmla="*/ 266224 w 1884679"/>
              <a:gd name="connsiteY171" fmla="*/ 899773 h 1571626"/>
              <a:gd name="connsiteX172" fmla="*/ 260668 w 1884679"/>
              <a:gd name="connsiteY172" fmla="*/ 904538 h 1571626"/>
              <a:gd name="connsiteX173" fmla="*/ 255905 w 1884679"/>
              <a:gd name="connsiteY173" fmla="*/ 910097 h 1571626"/>
              <a:gd name="connsiteX174" fmla="*/ 251143 w 1884679"/>
              <a:gd name="connsiteY174" fmla="*/ 917245 h 1571626"/>
              <a:gd name="connsiteX175" fmla="*/ 246380 w 1884679"/>
              <a:gd name="connsiteY175" fmla="*/ 925980 h 1571626"/>
              <a:gd name="connsiteX176" fmla="*/ 240030 w 1884679"/>
              <a:gd name="connsiteY176" fmla="*/ 935510 h 1571626"/>
              <a:gd name="connsiteX177" fmla="*/ 232887 w 1884679"/>
              <a:gd name="connsiteY177" fmla="*/ 945834 h 1571626"/>
              <a:gd name="connsiteX178" fmla="*/ 221774 w 1884679"/>
              <a:gd name="connsiteY178" fmla="*/ 957746 h 1571626"/>
              <a:gd name="connsiteX179" fmla="*/ 215424 w 1884679"/>
              <a:gd name="connsiteY179" fmla="*/ 964100 h 1571626"/>
              <a:gd name="connsiteX180" fmla="*/ 207487 w 1884679"/>
              <a:gd name="connsiteY180" fmla="*/ 969659 h 1571626"/>
              <a:gd name="connsiteX181" fmla="*/ 198755 w 1884679"/>
              <a:gd name="connsiteY181" fmla="*/ 974424 h 1571626"/>
              <a:gd name="connsiteX182" fmla="*/ 190818 w 1884679"/>
              <a:gd name="connsiteY182" fmla="*/ 979188 h 1571626"/>
              <a:gd name="connsiteX183" fmla="*/ 179705 w 1884679"/>
              <a:gd name="connsiteY183" fmla="*/ 983953 h 1571626"/>
              <a:gd name="connsiteX184" fmla="*/ 169387 w 1884679"/>
              <a:gd name="connsiteY184" fmla="*/ 986336 h 1571626"/>
              <a:gd name="connsiteX185" fmla="*/ 155893 w 1884679"/>
              <a:gd name="connsiteY185" fmla="*/ 988718 h 1571626"/>
              <a:gd name="connsiteX186" fmla="*/ 145334 w 1884679"/>
              <a:gd name="connsiteY186" fmla="*/ 990128 h 1571626"/>
              <a:gd name="connsiteX187" fmla="*/ 131895 w 1884679"/>
              <a:gd name="connsiteY187" fmla="*/ 988634 h 1571626"/>
              <a:gd name="connsiteX188" fmla="*/ 117593 w 1884679"/>
              <a:gd name="connsiteY188" fmla="*/ 986252 h 1571626"/>
              <a:gd name="connsiteX189" fmla="*/ 103291 w 1884679"/>
              <a:gd name="connsiteY189" fmla="*/ 981488 h 1571626"/>
              <a:gd name="connsiteX190" fmla="*/ 90579 w 1884679"/>
              <a:gd name="connsiteY190" fmla="*/ 975929 h 1571626"/>
              <a:gd name="connsiteX191" fmla="*/ 77071 w 1884679"/>
              <a:gd name="connsiteY191" fmla="*/ 967194 h 1571626"/>
              <a:gd name="connsiteX192" fmla="*/ 65153 w 1884679"/>
              <a:gd name="connsiteY192" fmla="*/ 957665 h 1571626"/>
              <a:gd name="connsiteX193" fmla="*/ 53235 w 1884679"/>
              <a:gd name="connsiteY193" fmla="*/ 948136 h 1571626"/>
              <a:gd name="connsiteX194" fmla="*/ 42905 w 1884679"/>
              <a:gd name="connsiteY194" fmla="*/ 936225 h 1571626"/>
              <a:gd name="connsiteX195" fmla="*/ 33371 w 1884679"/>
              <a:gd name="connsiteY195" fmla="*/ 923520 h 1571626"/>
              <a:gd name="connsiteX196" fmla="*/ 24631 w 1884679"/>
              <a:gd name="connsiteY196" fmla="*/ 909226 h 1571626"/>
              <a:gd name="connsiteX197" fmla="*/ 17480 w 1884679"/>
              <a:gd name="connsiteY197" fmla="*/ 893344 h 1571626"/>
              <a:gd name="connsiteX198" fmla="*/ 11918 w 1884679"/>
              <a:gd name="connsiteY198" fmla="*/ 878257 h 1571626"/>
              <a:gd name="connsiteX199" fmla="*/ 7151 w 1884679"/>
              <a:gd name="connsiteY199" fmla="*/ 861581 h 1571626"/>
              <a:gd name="connsiteX200" fmla="*/ 3972 w 1884679"/>
              <a:gd name="connsiteY200" fmla="*/ 844111 h 1571626"/>
              <a:gd name="connsiteX201" fmla="*/ 1589 w 1884679"/>
              <a:gd name="connsiteY201" fmla="*/ 825847 h 1571626"/>
              <a:gd name="connsiteX202" fmla="*/ 0 w 1884679"/>
              <a:gd name="connsiteY202" fmla="*/ 806789 h 1571626"/>
              <a:gd name="connsiteX203" fmla="*/ 1589 w 1884679"/>
              <a:gd name="connsiteY203" fmla="*/ 789319 h 1571626"/>
              <a:gd name="connsiteX204" fmla="*/ 3972 w 1884679"/>
              <a:gd name="connsiteY204" fmla="*/ 770261 h 1571626"/>
              <a:gd name="connsiteX205" fmla="*/ 7151 w 1884679"/>
              <a:gd name="connsiteY205" fmla="*/ 753586 h 1571626"/>
              <a:gd name="connsiteX206" fmla="*/ 11918 w 1884679"/>
              <a:gd name="connsiteY206" fmla="*/ 736910 h 1571626"/>
              <a:gd name="connsiteX207" fmla="*/ 17480 w 1884679"/>
              <a:gd name="connsiteY207" fmla="*/ 720234 h 1571626"/>
              <a:gd name="connsiteX208" fmla="*/ 24631 w 1884679"/>
              <a:gd name="connsiteY208" fmla="*/ 705146 h 1571626"/>
              <a:gd name="connsiteX209" fmla="*/ 33371 w 1884679"/>
              <a:gd name="connsiteY209" fmla="*/ 691647 h 1571626"/>
              <a:gd name="connsiteX210" fmla="*/ 42905 w 1884679"/>
              <a:gd name="connsiteY210" fmla="*/ 678942 h 1571626"/>
              <a:gd name="connsiteX211" fmla="*/ 53235 w 1884679"/>
              <a:gd name="connsiteY211" fmla="*/ 667030 h 1571626"/>
              <a:gd name="connsiteX212" fmla="*/ 65153 w 1884679"/>
              <a:gd name="connsiteY212" fmla="*/ 656707 h 1571626"/>
              <a:gd name="connsiteX213" fmla="*/ 77071 w 1884679"/>
              <a:gd name="connsiteY213" fmla="*/ 647178 h 1571626"/>
              <a:gd name="connsiteX214" fmla="*/ 90579 w 1884679"/>
              <a:gd name="connsiteY214" fmla="*/ 640032 h 1571626"/>
              <a:gd name="connsiteX215" fmla="*/ 103291 w 1884679"/>
              <a:gd name="connsiteY215" fmla="*/ 633679 h 1571626"/>
              <a:gd name="connsiteX216" fmla="*/ 117593 w 1884679"/>
              <a:gd name="connsiteY216" fmla="*/ 628914 h 1571626"/>
              <a:gd name="connsiteX217" fmla="*/ 131895 w 1884679"/>
              <a:gd name="connsiteY217" fmla="*/ 626532 h 1571626"/>
              <a:gd name="connsiteX218" fmla="*/ 145242 w 1884679"/>
              <a:gd name="connsiteY218" fmla="*/ 625791 h 1571626"/>
              <a:gd name="connsiteX219" fmla="*/ 155893 w 1884679"/>
              <a:gd name="connsiteY219" fmla="*/ 625791 h 1571626"/>
              <a:gd name="connsiteX220" fmla="*/ 169387 w 1884679"/>
              <a:gd name="connsiteY220" fmla="*/ 628174 h 1571626"/>
              <a:gd name="connsiteX221" fmla="*/ 179705 w 1884679"/>
              <a:gd name="connsiteY221" fmla="*/ 631350 h 1571626"/>
              <a:gd name="connsiteX222" fmla="*/ 190818 w 1884679"/>
              <a:gd name="connsiteY222" fmla="*/ 635321 h 1571626"/>
              <a:gd name="connsiteX223" fmla="*/ 198755 w 1884679"/>
              <a:gd name="connsiteY223" fmla="*/ 640086 h 1571626"/>
              <a:gd name="connsiteX224" fmla="*/ 207487 w 1884679"/>
              <a:gd name="connsiteY224" fmla="*/ 645645 h 1571626"/>
              <a:gd name="connsiteX225" fmla="*/ 215424 w 1884679"/>
              <a:gd name="connsiteY225" fmla="*/ 651998 h 1571626"/>
              <a:gd name="connsiteX226" fmla="*/ 221774 w 1884679"/>
              <a:gd name="connsiteY226" fmla="*/ 657557 h 1571626"/>
              <a:gd name="connsiteX227" fmla="*/ 232887 w 1884679"/>
              <a:gd name="connsiteY227" fmla="*/ 669469 h 1571626"/>
              <a:gd name="connsiteX228" fmla="*/ 240030 w 1884679"/>
              <a:gd name="connsiteY228" fmla="*/ 678999 h 1571626"/>
              <a:gd name="connsiteX229" fmla="*/ 246380 w 1884679"/>
              <a:gd name="connsiteY229" fmla="*/ 689323 h 1571626"/>
              <a:gd name="connsiteX230" fmla="*/ 251143 w 1884679"/>
              <a:gd name="connsiteY230" fmla="*/ 696471 h 1571626"/>
              <a:gd name="connsiteX231" fmla="*/ 255905 w 1884679"/>
              <a:gd name="connsiteY231" fmla="*/ 703618 h 1571626"/>
              <a:gd name="connsiteX232" fmla="*/ 260668 w 1884679"/>
              <a:gd name="connsiteY232" fmla="*/ 709971 h 1571626"/>
              <a:gd name="connsiteX233" fmla="*/ 266224 w 1884679"/>
              <a:gd name="connsiteY233" fmla="*/ 714736 h 1571626"/>
              <a:gd name="connsiteX234" fmla="*/ 270986 w 1884679"/>
              <a:gd name="connsiteY234" fmla="*/ 717913 h 1571626"/>
              <a:gd name="connsiteX235" fmla="*/ 277336 w 1884679"/>
              <a:gd name="connsiteY235" fmla="*/ 720295 h 1571626"/>
              <a:gd name="connsiteX236" fmla="*/ 282099 w 1884679"/>
              <a:gd name="connsiteY236" fmla="*/ 721883 h 1571626"/>
              <a:gd name="connsiteX237" fmla="*/ 286861 w 1884679"/>
              <a:gd name="connsiteY237" fmla="*/ 721883 h 1571626"/>
              <a:gd name="connsiteX238" fmla="*/ 287074 w 1884679"/>
              <a:gd name="connsiteY238" fmla="*/ 721822 h 1571626"/>
              <a:gd name="connsiteX239" fmla="*/ 290012 w 1884679"/>
              <a:gd name="connsiteY239" fmla="*/ 721822 h 1571626"/>
              <a:gd name="connsiteX240" fmla="*/ 294779 w 1884679"/>
              <a:gd name="connsiteY240" fmla="*/ 720234 h 1571626"/>
              <a:gd name="connsiteX241" fmla="*/ 299546 w 1884679"/>
              <a:gd name="connsiteY241" fmla="*/ 717852 h 1571626"/>
              <a:gd name="connsiteX242" fmla="*/ 304314 w 1884679"/>
              <a:gd name="connsiteY242" fmla="*/ 714675 h 1571626"/>
              <a:gd name="connsiteX243" fmla="*/ 307492 w 1884679"/>
              <a:gd name="connsiteY243" fmla="*/ 709911 h 1571626"/>
              <a:gd name="connsiteX244" fmla="*/ 309875 w 1884679"/>
              <a:gd name="connsiteY244" fmla="*/ 703558 h 1571626"/>
              <a:gd name="connsiteX245" fmla="*/ 312259 w 1884679"/>
              <a:gd name="connsiteY245" fmla="*/ 696412 h 1571626"/>
              <a:gd name="connsiteX246" fmla="*/ 313848 w 1884679"/>
              <a:gd name="connsiteY246" fmla="*/ 688471 h 1571626"/>
              <a:gd name="connsiteX247" fmla="*/ 314643 w 1884679"/>
              <a:gd name="connsiteY247" fmla="*/ 679736 h 1571626"/>
              <a:gd name="connsiteX248" fmla="*/ 314643 w 1884679"/>
              <a:gd name="connsiteY248" fmla="*/ 0 h 1571626"/>
              <a:gd name="connsiteX249" fmla="*/ 1884679 w 1884679"/>
              <a:gd name="connsiteY249" fmla="*/ 1 h 1571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884679" h="1571626">
                <a:moveTo>
                  <a:pt x="1884679" y="1"/>
                </a:moveTo>
                <a:lnTo>
                  <a:pt x="1884679" y="703473"/>
                </a:lnTo>
                <a:lnTo>
                  <a:pt x="1880839" y="709614"/>
                </a:lnTo>
                <a:lnTo>
                  <a:pt x="1877663" y="714376"/>
                </a:lnTo>
                <a:lnTo>
                  <a:pt x="1873692" y="717551"/>
                </a:lnTo>
                <a:lnTo>
                  <a:pt x="1868928" y="719932"/>
                </a:lnTo>
                <a:lnTo>
                  <a:pt x="1864351" y="721457"/>
                </a:lnTo>
                <a:lnTo>
                  <a:pt x="1858485" y="719502"/>
                </a:lnTo>
                <a:lnTo>
                  <a:pt x="1851341" y="714737"/>
                </a:lnTo>
                <a:lnTo>
                  <a:pt x="1844991" y="708384"/>
                </a:lnTo>
                <a:lnTo>
                  <a:pt x="1838641" y="700442"/>
                </a:lnTo>
                <a:lnTo>
                  <a:pt x="1833085" y="689324"/>
                </a:lnTo>
                <a:lnTo>
                  <a:pt x="1826735" y="679000"/>
                </a:lnTo>
                <a:lnTo>
                  <a:pt x="1819591" y="669470"/>
                </a:lnTo>
                <a:lnTo>
                  <a:pt x="1809273" y="657558"/>
                </a:lnTo>
                <a:lnTo>
                  <a:pt x="1802129" y="651999"/>
                </a:lnTo>
                <a:lnTo>
                  <a:pt x="1794985" y="645646"/>
                </a:lnTo>
                <a:lnTo>
                  <a:pt x="1785460" y="640881"/>
                </a:lnTo>
                <a:lnTo>
                  <a:pt x="1776729" y="635322"/>
                </a:lnTo>
                <a:lnTo>
                  <a:pt x="1766410" y="631351"/>
                </a:lnTo>
                <a:lnTo>
                  <a:pt x="1755298" y="628175"/>
                </a:lnTo>
                <a:lnTo>
                  <a:pt x="1743391" y="626586"/>
                </a:lnTo>
                <a:lnTo>
                  <a:pt x="1730691" y="625792"/>
                </a:lnTo>
                <a:lnTo>
                  <a:pt x="1728300" y="625917"/>
                </a:lnTo>
                <a:lnTo>
                  <a:pt x="1721228" y="625476"/>
                </a:lnTo>
                <a:lnTo>
                  <a:pt x="1706935" y="626270"/>
                </a:lnTo>
                <a:lnTo>
                  <a:pt x="1691053" y="628651"/>
                </a:lnTo>
                <a:lnTo>
                  <a:pt x="1678348" y="633414"/>
                </a:lnTo>
                <a:lnTo>
                  <a:pt x="1664054" y="639764"/>
                </a:lnTo>
                <a:lnTo>
                  <a:pt x="1650555" y="647701"/>
                </a:lnTo>
                <a:lnTo>
                  <a:pt x="1638644" y="656432"/>
                </a:lnTo>
                <a:lnTo>
                  <a:pt x="1628320" y="666751"/>
                </a:lnTo>
                <a:lnTo>
                  <a:pt x="1617997" y="678657"/>
                </a:lnTo>
                <a:lnTo>
                  <a:pt x="1608468" y="691357"/>
                </a:lnTo>
                <a:lnTo>
                  <a:pt x="1599733" y="705645"/>
                </a:lnTo>
                <a:lnTo>
                  <a:pt x="1592587" y="719932"/>
                </a:lnTo>
                <a:lnTo>
                  <a:pt x="1587028" y="736601"/>
                </a:lnTo>
                <a:lnTo>
                  <a:pt x="1580675" y="753270"/>
                </a:lnTo>
                <a:lnTo>
                  <a:pt x="1577499" y="771526"/>
                </a:lnTo>
                <a:lnTo>
                  <a:pt x="1575911" y="788989"/>
                </a:lnTo>
                <a:lnTo>
                  <a:pt x="1575117" y="808039"/>
                </a:lnTo>
                <a:lnTo>
                  <a:pt x="1575911" y="825501"/>
                </a:lnTo>
                <a:lnTo>
                  <a:pt x="1577499" y="843757"/>
                </a:lnTo>
                <a:lnTo>
                  <a:pt x="1580675" y="861220"/>
                </a:lnTo>
                <a:lnTo>
                  <a:pt x="1587028" y="877889"/>
                </a:lnTo>
                <a:lnTo>
                  <a:pt x="1592587" y="894557"/>
                </a:lnTo>
                <a:lnTo>
                  <a:pt x="1599733" y="908845"/>
                </a:lnTo>
                <a:lnTo>
                  <a:pt x="1608468" y="923132"/>
                </a:lnTo>
                <a:lnTo>
                  <a:pt x="1617997" y="935832"/>
                </a:lnTo>
                <a:lnTo>
                  <a:pt x="1628320" y="947739"/>
                </a:lnTo>
                <a:lnTo>
                  <a:pt x="1638644" y="958851"/>
                </a:lnTo>
                <a:lnTo>
                  <a:pt x="1650555" y="966789"/>
                </a:lnTo>
                <a:lnTo>
                  <a:pt x="1664054" y="975520"/>
                </a:lnTo>
                <a:lnTo>
                  <a:pt x="1678348" y="981076"/>
                </a:lnTo>
                <a:lnTo>
                  <a:pt x="1691053" y="985839"/>
                </a:lnTo>
                <a:lnTo>
                  <a:pt x="1706935" y="988220"/>
                </a:lnTo>
                <a:lnTo>
                  <a:pt x="1721228" y="989807"/>
                </a:lnTo>
                <a:lnTo>
                  <a:pt x="1723383" y="989538"/>
                </a:lnTo>
                <a:lnTo>
                  <a:pt x="1730691" y="990308"/>
                </a:lnTo>
                <a:lnTo>
                  <a:pt x="1743391" y="988719"/>
                </a:lnTo>
                <a:lnTo>
                  <a:pt x="1755298" y="987925"/>
                </a:lnTo>
                <a:lnTo>
                  <a:pt x="1766410" y="983954"/>
                </a:lnTo>
                <a:lnTo>
                  <a:pt x="1776729" y="980778"/>
                </a:lnTo>
                <a:lnTo>
                  <a:pt x="1785460" y="976013"/>
                </a:lnTo>
                <a:lnTo>
                  <a:pt x="1794985" y="969660"/>
                </a:lnTo>
                <a:lnTo>
                  <a:pt x="1802129" y="964101"/>
                </a:lnTo>
                <a:lnTo>
                  <a:pt x="1809273" y="957747"/>
                </a:lnTo>
                <a:lnTo>
                  <a:pt x="1819591" y="945835"/>
                </a:lnTo>
                <a:lnTo>
                  <a:pt x="1826735" y="936305"/>
                </a:lnTo>
                <a:lnTo>
                  <a:pt x="1833085" y="925981"/>
                </a:lnTo>
                <a:lnTo>
                  <a:pt x="1838641" y="914863"/>
                </a:lnTo>
                <a:lnTo>
                  <a:pt x="1844991" y="906922"/>
                </a:lnTo>
                <a:lnTo>
                  <a:pt x="1851341" y="900568"/>
                </a:lnTo>
                <a:lnTo>
                  <a:pt x="1858485" y="895804"/>
                </a:lnTo>
                <a:lnTo>
                  <a:pt x="1865573" y="893439"/>
                </a:lnTo>
                <a:lnTo>
                  <a:pt x="1868928" y="894557"/>
                </a:lnTo>
                <a:lnTo>
                  <a:pt x="1873692" y="896939"/>
                </a:lnTo>
                <a:lnTo>
                  <a:pt x="1877663" y="900114"/>
                </a:lnTo>
                <a:lnTo>
                  <a:pt x="1880839" y="904876"/>
                </a:lnTo>
                <a:lnTo>
                  <a:pt x="1884679" y="911016"/>
                </a:lnTo>
                <a:lnTo>
                  <a:pt x="1884679" y="1571626"/>
                </a:lnTo>
                <a:lnTo>
                  <a:pt x="1177655" y="1571625"/>
                </a:lnTo>
                <a:lnTo>
                  <a:pt x="1175067" y="1569408"/>
                </a:lnTo>
                <a:lnTo>
                  <a:pt x="1171098" y="1562267"/>
                </a:lnTo>
                <a:lnTo>
                  <a:pt x="1171098" y="1555126"/>
                </a:lnTo>
                <a:lnTo>
                  <a:pt x="1172686" y="1547191"/>
                </a:lnTo>
                <a:lnTo>
                  <a:pt x="1175861" y="1540050"/>
                </a:lnTo>
                <a:lnTo>
                  <a:pt x="1183004" y="1531322"/>
                </a:lnTo>
                <a:lnTo>
                  <a:pt x="1191736" y="1524181"/>
                </a:lnTo>
                <a:lnTo>
                  <a:pt x="1203642" y="1518627"/>
                </a:lnTo>
                <a:lnTo>
                  <a:pt x="1213961" y="1512279"/>
                </a:lnTo>
                <a:lnTo>
                  <a:pt x="1223486" y="1504344"/>
                </a:lnTo>
                <a:lnTo>
                  <a:pt x="1235392" y="1493236"/>
                </a:lnTo>
                <a:lnTo>
                  <a:pt x="1241742" y="1486095"/>
                </a:lnTo>
                <a:lnTo>
                  <a:pt x="1247298" y="1478954"/>
                </a:lnTo>
                <a:lnTo>
                  <a:pt x="1252061" y="1471019"/>
                </a:lnTo>
                <a:lnTo>
                  <a:pt x="1256823" y="1461497"/>
                </a:lnTo>
                <a:lnTo>
                  <a:pt x="1261586" y="1451976"/>
                </a:lnTo>
                <a:lnTo>
                  <a:pt x="1265554" y="1440074"/>
                </a:lnTo>
                <a:lnTo>
                  <a:pt x="1266348" y="1428172"/>
                </a:lnTo>
                <a:lnTo>
                  <a:pt x="1267936" y="1415476"/>
                </a:lnTo>
                <a:lnTo>
                  <a:pt x="1266348" y="1401194"/>
                </a:lnTo>
                <a:lnTo>
                  <a:pt x="1263967" y="1385325"/>
                </a:lnTo>
                <a:lnTo>
                  <a:pt x="1259204" y="1371042"/>
                </a:lnTo>
                <a:lnTo>
                  <a:pt x="1253648" y="1358347"/>
                </a:lnTo>
                <a:lnTo>
                  <a:pt x="1244917" y="1344858"/>
                </a:lnTo>
                <a:lnTo>
                  <a:pt x="1236979" y="1333750"/>
                </a:lnTo>
                <a:lnTo>
                  <a:pt x="1225867" y="1322641"/>
                </a:lnTo>
                <a:lnTo>
                  <a:pt x="1213961" y="1312326"/>
                </a:lnTo>
                <a:lnTo>
                  <a:pt x="1201261" y="1302805"/>
                </a:lnTo>
                <a:lnTo>
                  <a:pt x="1186973" y="1294077"/>
                </a:lnTo>
                <a:lnTo>
                  <a:pt x="1172686" y="1286935"/>
                </a:lnTo>
                <a:lnTo>
                  <a:pt x="1156017" y="1281381"/>
                </a:lnTo>
                <a:lnTo>
                  <a:pt x="1139348" y="1275033"/>
                </a:lnTo>
                <a:lnTo>
                  <a:pt x="1133683" y="1274004"/>
                </a:lnTo>
                <a:lnTo>
                  <a:pt x="1129029" y="1272230"/>
                </a:lnTo>
                <a:lnTo>
                  <a:pt x="1111567" y="1269054"/>
                </a:lnTo>
                <a:lnTo>
                  <a:pt x="1093310" y="1266671"/>
                </a:lnTo>
                <a:lnTo>
                  <a:pt x="1074260" y="1266671"/>
                </a:lnTo>
                <a:lnTo>
                  <a:pt x="1056798" y="1266671"/>
                </a:lnTo>
                <a:lnTo>
                  <a:pt x="1037748" y="1269054"/>
                </a:lnTo>
                <a:lnTo>
                  <a:pt x="1021079" y="1272230"/>
                </a:lnTo>
                <a:lnTo>
                  <a:pt x="1003617" y="1278583"/>
                </a:lnTo>
                <a:lnTo>
                  <a:pt x="987742" y="1284142"/>
                </a:lnTo>
                <a:lnTo>
                  <a:pt x="972660" y="1291290"/>
                </a:lnTo>
                <a:lnTo>
                  <a:pt x="959167" y="1300026"/>
                </a:lnTo>
                <a:lnTo>
                  <a:pt x="946467" y="1309555"/>
                </a:lnTo>
                <a:lnTo>
                  <a:pt x="934560" y="1319879"/>
                </a:lnTo>
                <a:lnTo>
                  <a:pt x="923448" y="1330997"/>
                </a:lnTo>
                <a:lnTo>
                  <a:pt x="914717" y="1342116"/>
                </a:lnTo>
                <a:lnTo>
                  <a:pt x="907573" y="1355616"/>
                </a:lnTo>
                <a:lnTo>
                  <a:pt x="901223" y="1368323"/>
                </a:lnTo>
                <a:lnTo>
                  <a:pt x="896460" y="1382617"/>
                </a:lnTo>
                <a:lnTo>
                  <a:pt x="894079" y="1396912"/>
                </a:lnTo>
                <a:lnTo>
                  <a:pt x="893285" y="1412795"/>
                </a:lnTo>
                <a:lnTo>
                  <a:pt x="893285" y="1425501"/>
                </a:lnTo>
                <a:lnTo>
                  <a:pt x="895667" y="1437414"/>
                </a:lnTo>
                <a:lnTo>
                  <a:pt x="898842" y="1449326"/>
                </a:lnTo>
                <a:lnTo>
                  <a:pt x="902810" y="1458856"/>
                </a:lnTo>
                <a:lnTo>
                  <a:pt x="907573" y="1468386"/>
                </a:lnTo>
                <a:lnTo>
                  <a:pt x="913129" y="1476327"/>
                </a:lnTo>
                <a:lnTo>
                  <a:pt x="919479" y="1483474"/>
                </a:lnTo>
                <a:lnTo>
                  <a:pt x="925035" y="1490622"/>
                </a:lnTo>
                <a:lnTo>
                  <a:pt x="935354" y="1501740"/>
                </a:lnTo>
                <a:lnTo>
                  <a:pt x="946467" y="1509681"/>
                </a:lnTo>
                <a:lnTo>
                  <a:pt x="955992" y="1516035"/>
                </a:lnTo>
                <a:lnTo>
                  <a:pt x="967898" y="1521594"/>
                </a:lnTo>
                <a:lnTo>
                  <a:pt x="977423" y="1528741"/>
                </a:lnTo>
                <a:lnTo>
                  <a:pt x="982979" y="1537477"/>
                </a:lnTo>
                <a:lnTo>
                  <a:pt x="987742" y="1544624"/>
                </a:lnTo>
                <a:lnTo>
                  <a:pt x="989329" y="1552566"/>
                </a:lnTo>
                <a:lnTo>
                  <a:pt x="987742" y="1559713"/>
                </a:lnTo>
                <a:lnTo>
                  <a:pt x="984567" y="1566066"/>
                </a:lnTo>
                <a:lnTo>
                  <a:pt x="978217" y="1571625"/>
                </a:lnTo>
                <a:lnTo>
                  <a:pt x="311467" y="1571625"/>
                </a:lnTo>
                <a:lnTo>
                  <a:pt x="311467" y="1571492"/>
                </a:lnTo>
                <a:lnTo>
                  <a:pt x="314642" y="1571492"/>
                </a:lnTo>
                <a:lnTo>
                  <a:pt x="314643" y="935431"/>
                </a:lnTo>
                <a:lnTo>
                  <a:pt x="313848" y="925902"/>
                </a:lnTo>
                <a:lnTo>
                  <a:pt x="312259" y="917167"/>
                </a:lnTo>
                <a:lnTo>
                  <a:pt x="309875" y="910020"/>
                </a:lnTo>
                <a:lnTo>
                  <a:pt x="307492" y="905256"/>
                </a:lnTo>
                <a:lnTo>
                  <a:pt x="304314" y="900491"/>
                </a:lnTo>
                <a:lnTo>
                  <a:pt x="299546" y="897315"/>
                </a:lnTo>
                <a:lnTo>
                  <a:pt x="294779" y="894933"/>
                </a:lnTo>
                <a:lnTo>
                  <a:pt x="290012" y="893344"/>
                </a:lnTo>
                <a:lnTo>
                  <a:pt x="285244" y="893344"/>
                </a:lnTo>
                <a:lnTo>
                  <a:pt x="280477" y="893344"/>
                </a:lnTo>
                <a:lnTo>
                  <a:pt x="280274" y="893420"/>
                </a:lnTo>
                <a:lnTo>
                  <a:pt x="277336" y="893420"/>
                </a:lnTo>
                <a:lnTo>
                  <a:pt x="270986" y="895803"/>
                </a:lnTo>
                <a:lnTo>
                  <a:pt x="266224" y="899773"/>
                </a:lnTo>
                <a:lnTo>
                  <a:pt x="260668" y="904538"/>
                </a:lnTo>
                <a:lnTo>
                  <a:pt x="255905" y="910097"/>
                </a:lnTo>
                <a:lnTo>
                  <a:pt x="251143" y="917245"/>
                </a:lnTo>
                <a:lnTo>
                  <a:pt x="246380" y="925980"/>
                </a:lnTo>
                <a:lnTo>
                  <a:pt x="240030" y="935510"/>
                </a:lnTo>
                <a:lnTo>
                  <a:pt x="232887" y="945834"/>
                </a:lnTo>
                <a:lnTo>
                  <a:pt x="221774" y="957746"/>
                </a:lnTo>
                <a:lnTo>
                  <a:pt x="215424" y="964100"/>
                </a:lnTo>
                <a:lnTo>
                  <a:pt x="207487" y="969659"/>
                </a:lnTo>
                <a:lnTo>
                  <a:pt x="198755" y="974424"/>
                </a:lnTo>
                <a:lnTo>
                  <a:pt x="190818" y="979188"/>
                </a:lnTo>
                <a:lnTo>
                  <a:pt x="179705" y="983953"/>
                </a:lnTo>
                <a:lnTo>
                  <a:pt x="169387" y="986336"/>
                </a:lnTo>
                <a:lnTo>
                  <a:pt x="155893" y="988718"/>
                </a:lnTo>
                <a:lnTo>
                  <a:pt x="145334" y="990128"/>
                </a:lnTo>
                <a:lnTo>
                  <a:pt x="131895" y="988634"/>
                </a:lnTo>
                <a:lnTo>
                  <a:pt x="117593" y="986252"/>
                </a:lnTo>
                <a:lnTo>
                  <a:pt x="103291" y="981488"/>
                </a:lnTo>
                <a:lnTo>
                  <a:pt x="90579" y="975929"/>
                </a:lnTo>
                <a:lnTo>
                  <a:pt x="77071" y="967194"/>
                </a:lnTo>
                <a:lnTo>
                  <a:pt x="65153" y="957665"/>
                </a:lnTo>
                <a:lnTo>
                  <a:pt x="53235" y="948136"/>
                </a:lnTo>
                <a:lnTo>
                  <a:pt x="42905" y="936225"/>
                </a:lnTo>
                <a:lnTo>
                  <a:pt x="33371" y="923520"/>
                </a:lnTo>
                <a:lnTo>
                  <a:pt x="24631" y="909226"/>
                </a:lnTo>
                <a:lnTo>
                  <a:pt x="17480" y="893344"/>
                </a:lnTo>
                <a:lnTo>
                  <a:pt x="11918" y="878257"/>
                </a:lnTo>
                <a:lnTo>
                  <a:pt x="7151" y="861581"/>
                </a:lnTo>
                <a:lnTo>
                  <a:pt x="3972" y="844111"/>
                </a:lnTo>
                <a:lnTo>
                  <a:pt x="1589" y="825847"/>
                </a:lnTo>
                <a:lnTo>
                  <a:pt x="0" y="806789"/>
                </a:lnTo>
                <a:lnTo>
                  <a:pt x="1589" y="789319"/>
                </a:lnTo>
                <a:lnTo>
                  <a:pt x="3972" y="770261"/>
                </a:lnTo>
                <a:lnTo>
                  <a:pt x="7151" y="753586"/>
                </a:lnTo>
                <a:lnTo>
                  <a:pt x="11918" y="736910"/>
                </a:lnTo>
                <a:lnTo>
                  <a:pt x="17480" y="720234"/>
                </a:lnTo>
                <a:lnTo>
                  <a:pt x="24631" y="705146"/>
                </a:lnTo>
                <a:lnTo>
                  <a:pt x="33371" y="691647"/>
                </a:lnTo>
                <a:lnTo>
                  <a:pt x="42905" y="678942"/>
                </a:lnTo>
                <a:lnTo>
                  <a:pt x="53235" y="667030"/>
                </a:lnTo>
                <a:lnTo>
                  <a:pt x="65153" y="656707"/>
                </a:lnTo>
                <a:lnTo>
                  <a:pt x="77071" y="647178"/>
                </a:lnTo>
                <a:lnTo>
                  <a:pt x="90579" y="640032"/>
                </a:lnTo>
                <a:lnTo>
                  <a:pt x="103291" y="633679"/>
                </a:lnTo>
                <a:lnTo>
                  <a:pt x="117593" y="628914"/>
                </a:lnTo>
                <a:lnTo>
                  <a:pt x="131895" y="626532"/>
                </a:lnTo>
                <a:lnTo>
                  <a:pt x="145242" y="625791"/>
                </a:lnTo>
                <a:lnTo>
                  <a:pt x="155893" y="625791"/>
                </a:lnTo>
                <a:lnTo>
                  <a:pt x="169387" y="628174"/>
                </a:lnTo>
                <a:lnTo>
                  <a:pt x="179705" y="631350"/>
                </a:lnTo>
                <a:lnTo>
                  <a:pt x="190818" y="635321"/>
                </a:lnTo>
                <a:lnTo>
                  <a:pt x="198755" y="640086"/>
                </a:lnTo>
                <a:lnTo>
                  <a:pt x="207487" y="645645"/>
                </a:lnTo>
                <a:lnTo>
                  <a:pt x="215424" y="651998"/>
                </a:lnTo>
                <a:lnTo>
                  <a:pt x="221774" y="657557"/>
                </a:lnTo>
                <a:lnTo>
                  <a:pt x="232887" y="669469"/>
                </a:lnTo>
                <a:lnTo>
                  <a:pt x="240030" y="678999"/>
                </a:lnTo>
                <a:lnTo>
                  <a:pt x="246380" y="689323"/>
                </a:lnTo>
                <a:lnTo>
                  <a:pt x="251143" y="696471"/>
                </a:lnTo>
                <a:lnTo>
                  <a:pt x="255905" y="703618"/>
                </a:lnTo>
                <a:lnTo>
                  <a:pt x="260668" y="709971"/>
                </a:lnTo>
                <a:lnTo>
                  <a:pt x="266224" y="714736"/>
                </a:lnTo>
                <a:lnTo>
                  <a:pt x="270986" y="717913"/>
                </a:lnTo>
                <a:lnTo>
                  <a:pt x="277336" y="720295"/>
                </a:lnTo>
                <a:lnTo>
                  <a:pt x="282099" y="721883"/>
                </a:lnTo>
                <a:lnTo>
                  <a:pt x="286861" y="721883"/>
                </a:lnTo>
                <a:lnTo>
                  <a:pt x="287074" y="721822"/>
                </a:lnTo>
                <a:lnTo>
                  <a:pt x="290012" y="721822"/>
                </a:lnTo>
                <a:lnTo>
                  <a:pt x="294779" y="720234"/>
                </a:lnTo>
                <a:lnTo>
                  <a:pt x="299546" y="717852"/>
                </a:lnTo>
                <a:lnTo>
                  <a:pt x="304314" y="714675"/>
                </a:lnTo>
                <a:lnTo>
                  <a:pt x="307492" y="709911"/>
                </a:lnTo>
                <a:lnTo>
                  <a:pt x="309875" y="703558"/>
                </a:lnTo>
                <a:lnTo>
                  <a:pt x="312259" y="696412"/>
                </a:lnTo>
                <a:lnTo>
                  <a:pt x="313848" y="688471"/>
                </a:lnTo>
                <a:lnTo>
                  <a:pt x="314643" y="679736"/>
                </a:lnTo>
                <a:lnTo>
                  <a:pt x="314643" y="0"/>
                </a:lnTo>
                <a:lnTo>
                  <a:pt x="1884679" y="1"/>
                </a:lnTo>
                <a:close/>
              </a:path>
            </a:pathLst>
          </a:custGeom>
          <a:ln>
            <a:solidFill>
              <a:schemeClr val="tx1">
                <a:lumMod val="50000"/>
                <a:lumOff val="50000"/>
              </a:schemeClr>
            </a:solidFill>
          </a:ln>
        </p:spPr>
      </p:pic>
      <p:pic>
        <p:nvPicPr>
          <p:cNvPr id="10" name="Picture 9">
            <a:extLst>
              <a:ext uri="{FF2B5EF4-FFF2-40B4-BE49-F238E27FC236}">
                <a16:creationId xmlns:a16="http://schemas.microsoft.com/office/drawing/2014/main" id="{E57F4EBC-811A-4FA0-9C6F-56BD59C157EF}"/>
              </a:ext>
            </a:extLst>
          </p:cNvPr>
          <p:cNvPicPr>
            <a:picLocks noChangeAspect="1"/>
          </p:cNvPicPr>
          <p:nvPr/>
        </p:nvPicPr>
        <p:blipFill rotWithShape="1">
          <a:blip r:embed="rId2"/>
          <a:srcRect l="9351" t="50221" r="56381" b="20191"/>
          <a:stretch/>
        </p:blipFill>
        <p:spPr>
          <a:xfrm>
            <a:off x="9533285" y="448782"/>
            <a:ext cx="1716452" cy="2321904"/>
          </a:xfrm>
          <a:custGeom>
            <a:avLst/>
            <a:gdLst>
              <a:gd name="connsiteX0" fmla="*/ 1847837 w 1847837"/>
              <a:gd name="connsiteY0" fmla="*/ 763738 h 1884362"/>
              <a:gd name="connsiteX1" fmla="*/ 1846249 w 1847837"/>
              <a:gd name="connsiteY1" fmla="*/ 782772 h 1884362"/>
              <a:gd name="connsiteX2" fmla="*/ 1845455 w 1847837"/>
              <a:gd name="connsiteY2" fmla="*/ 800220 h 1884362"/>
              <a:gd name="connsiteX3" fmla="*/ 1840693 w 1847837"/>
              <a:gd name="connsiteY3" fmla="*/ 818460 h 1884362"/>
              <a:gd name="connsiteX4" fmla="*/ 1835930 w 1847837"/>
              <a:gd name="connsiteY4" fmla="*/ 835115 h 1884362"/>
              <a:gd name="connsiteX5" fmla="*/ 1829580 w 1847837"/>
              <a:gd name="connsiteY5" fmla="*/ 850184 h 1884362"/>
              <a:gd name="connsiteX6" fmla="*/ 1822437 w 1847837"/>
              <a:gd name="connsiteY6" fmla="*/ 866045 h 1884362"/>
              <a:gd name="connsiteX7" fmla="*/ 1814499 w 1847837"/>
              <a:gd name="connsiteY7" fmla="*/ 880321 h 1884362"/>
              <a:gd name="connsiteX8" fmla="*/ 1804974 w 1847837"/>
              <a:gd name="connsiteY8" fmla="*/ 893010 h 1884362"/>
              <a:gd name="connsiteX9" fmla="*/ 1794655 w 1847837"/>
              <a:gd name="connsiteY9" fmla="*/ 904906 h 1884362"/>
              <a:gd name="connsiteX10" fmla="*/ 1783543 w 1847837"/>
              <a:gd name="connsiteY10" fmla="*/ 914423 h 1884362"/>
              <a:gd name="connsiteX11" fmla="*/ 1770843 w 1847837"/>
              <a:gd name="connsiteY11" fmla="*/ 923940 h 1884362"/>
              <a:gd name="connsiteX12" fmla="*/ 1758937 w 1847837"/>
              <a:gd name="connsiteY12" fmla="*/ 931078 h 1884362"/>
              <a:gd name="connsiteX13" fmla="*/ 1746897 w 1847837"/>
              <a:gd name="connsiteY13" fmla="*/ 937093 h 1884362"/>
              <a:gd name="connsiteX14" fmla="*/ 1740841 w 1847837"/>
              <a:gd name="connsiteY14" fmla="*/ 939111 h 1884362"/>
              <a:gd name="connsiteX15" fmla="*/ 1738521 w 1847837"/>
              <a:gd name="connsiteY15" fmla="*/ 939656 h 1884362"/>
              <a:gd name="connsiteX16" fmla="*/ 1725599 w 1847837"/>
              <a:gd name="connsiteY16" fmla="*/ 941809 h 1884362"/>
              <a:gd name="connsiteX17" fmla="*/ 1710518 w 1847837"/>
              <a:gd name="connsiteY17" fmla="*/ 943396 h 1884362"/>
              <a:gd name="connsiteX18" fmla="*/ 1697024 w 1847837"/>
              <a:gd name="connsiteY18" fmla="*/ 941809 h 1884362"/>
              <a:gd name="connsiteX19" fmla="*/ 1685912 w 1847837"/>
              <a:gd name="connsiteY19" fmla="*/ 939429 h 1884362"/>
              <a:gd name="connsiteX20" fmla="*/ 1674799 w 1847837"/>
              <a:gd name="connsiteY20" fmla="*/ 937048 h 1884362"/>
              <a:gd name="connsiteX21" fmla="*/ 1664481 w 1847837"/>
              <a:gd name="connsiteY21" fmla="*/ 932288 h 1884362"/>
              <a:gd name="connsiteX22" fmla="*/ 1654956 w 1847837"/>
              <a:gd name="connsiteY22" fmla="*/ 927527 h 1884362"/>
              <a:gd name="connsiteX23" fmla="*/ 1646224 w 1847837"/>
              <a:gd name="connsiteY23" fmla="*/ 922766 h 1884362"/>
              <a:gd name="connsiteX24" fmla="*/ 1639081 w 1847837"/>
              <a:gd name="connsiteY24" fmla="*/ 917212 h 1884362"/>
              <a:gd name="connsiteX25" fmla="*/ 1631937 w 1847837"/>
              <a:gd name="connsiteY25" fmla="*/ 910864 h 1884362"/>
              <a:gd name="connsiteX26" fmla="*/ 1621618 w 1847837"/>
              <a:gd name="connsiteY26" fmla="*/ 898962 h 1884362"/>
              <a:gd name="connsiteX27" fmla="*/ 1614474 w 1847837"/>
              <a:gd name="connsiteY27" fmla="*/ 888647 h 1884362"/>
              <a:gd name="connsiteX28" fmla="*/ 1608124 w 1847837"/>
              <a:gd name="connsiteY28" fmla="*/ 879126 h 1884362"/>
              <a:gd name="connsiteX29" fmla="*/ 1603362 w 1847837"/>
              <a:gd name="connsiteY29" fmla="*/ 871191 h 1884362"/>
              <a:gd name="connsiteX30" fmla="*/ 1598599 w 1847837"/>
              <a:gd name="connsiteY30" fmla="*/ 864050 h 1884362"/>
              <a:gd name="connsiteX31" fmla="*/ 1593043 w 1847837"/>
              <a:gd name="connsiteY31" fmla="*/ 857702 h 1884362"/>
              <a:gd name="connsiteX32" fmla="*/ 1588281 w 1847837"/>
              <a:gd name="connsiteY32" fmla="*/ 852941 h 1884362"/>
              <a:gd name="connsiteX33" fmla="*/ 1581931 w 1847837"/>
              <a:gd name="connsiteY33" fmla="*/ 849767 h 1884362"/>
              <a:gd name="connsiteX34" fmla="*/ 1577168 w 1847837"/>
              <a:gd name="connsiteY34" fmla="*/ 847387 h 1884362"/>
              <a:gd name="connsiteX35" fmla="*/ 1571612 w 1847837"/>
              <a:gd name="connsiteY35" fmla="*/ 847387 h 1884362"/>
              <a:gd name="connsiteX36" fmla="*/ 1566849 w 1847837"/>
              <a:gd name="connsiteY36" fmla="*/ 847387 h 1884362"/>
              <a:gd name="connsiteX37" fmla="*/ 1562087 w 1847837"/>
              <a:gd name="connsiteY37" fmla="*/ 848180 h 1884362"/>
              <a:gd name="connsiteX38" fmla="*/ 1559665 w 1847837"/>
              <a:gd name="connsiteY38" fmla="*/ 849391 h 1884362"/>
              <a:gd name="connsiteX39" fmla="*/ 1558118 w 1847837"/>
              <a:gd name="connsiteY39" fmla="*/ 849391 h 1884362"/>
              <a:gd name="connsiteX40" fmla="*/ 1553355 w 1847837"/>
              <a:gd name="connsiteY40" fmla="*/ 850184 h 1884362"/>
              <a:gd name="connsiteX41" fmla="*/ 1548593 w 1847837"/>
              <a:gd name="connsiteY41" fmla="*/ 852563 h 1884362"/>
              <a:gd name="connsiteX42" fmla="*/ 1545418 w 1847837"/>
              <a:gd name="connsiteY42" fmla="*/ 856528 h 1884362"/>
              <a:gd name="connsiteX43" fmla="*/ 1541449 w 1847837"/>
              <a:gd name="connsiteY43" fmla="*/ 861287 h 1884362"/>
              <a:gd name="connsiteX44" fmla="*/ 1538274 w 1847837"/>
              <a:gd name="connsiteY44" fmla="*/ 866838 h 1884362"/>
              <a:gd name="connsiteX45" fmla="*/ 1535893 w 1847837"/>
              <a:gd name="connsiteY45" fmla="*/ 873976 h 1884362"/>
              <a:gd name="connsiteX46" fmla="*/ 1534305 w 1847837"/>
              <a:gd name="connsiteY46" fmla="*/ 882700 h 1884362"/>
              <a:gd name="connsiteX47" fmla="*/ 1534305 w 1847837"/>
              <a:gd name="connsiteY47" fmla="*/ 892217 h 1884362"/>
              <a:gd name="connsiteX48" fmla="*/ 1534305 w 1847837"/>
              <a:gd name="connsiteY48" fmla="*/ 1569509 h 1884362"/>
              <a:gd name="connsiteX49" fmla="*/ 896924 w 1847837"/>
              <a:gd name="connsiteY49" fmla="*/ 1569509 h 1884362"/>
              <a:gd name="connsiteX50" fmla="*/ 888987 w 1847837"/>
              <a:gd name="connsiteY50" fmla="*/ 1571095 h 1884362"/>
              <a:gd name="connsiteX51" fmla="*/ 881049 w 1847837"/>
              <a:gd name="connsiteY51" fmla="*/ 1571888 h 1884362"/>
              <a:gd name="connsiteX52" fmla="*/ 873905 w 1847837"/>
              <a:gd name="connsiteY52" fmla="*/ 1574267 h 1884362"/>
              <a:gd name="connsiteX53" fmla="*/ 867555 w 1847837"/>
              <a:gd name="connsiteY53" fmla="*/ 1576647 h 1884362"/>
              <a:gd name="connsiteX54" fmla="*/ 862793 w 1847837"/>
              <a:gd name="connsiteY54" fmla="*/ 1580612 h 1884362"/>
              <a:gd name="connsiteX55" fmla="*/ 859618 w 1847837"/>
              <a:gd name="connsiteY55" fmla="*/ 1585370 h 1884362"/>
              <a:gd name="connsiteX56" fmla="*/ 857237 w 1847837"/>
              <a:gd name="connsiteY56" fmla="*/ 1588543 h 1884362"/>
              <a:gd name="connsiteX57" fmla="*/ 855649 w 1847837"/>
              <a:gd name="connsiteY57" fmla="*/ 1593301 h 1884362"/>
              <a:gd name="connsiteX58" fmla="*/ 855649 w 1847837"/>
              <a:gd name="connsiteY58" fmla="*/ 1599646 h 1884362"/>
              <a:gd name="connsiteX59" fmla="*/ 857237 w 1847837"/>
              <a:gd name="connsiteY59" fmla="*/ 1604404 h 1884362"/>
              <a:gd name="connsiteX60" fmla="*/ 858384 w 1847837"/>
              <a:gd name="connsiteY60" fmla="*/ 1607077 h 1884362"/>
              <a:gd name="connsiteX61" fmla="*/ 857613 w 1847837"/>
              <a:gd name="connsiteY61" fmla="*/ 1608620 h 1884362"/>
              <a:gd name="connsiteX62" fmla="*/ 856024 w 1847837"/>
              <a:gd name="connsiteY62" fmla="*/ 1613387 h 1884362"/>
              <a:gd name="connsiteX63" fmla="*/ 856024 w 1847837"/>
              <a:gd name="connsiteY63" fmla="*/ 1618154 h 1884362"/>
              <a:gd name="connsiteX64" fmla="*/ 857613 w 1847837"/>
              <a:gd name="connsiteY64" fmla="*/ 1623716 h 1884362"/>
              <a:gd name="connsiteX65" fmla="*/ 859995 w 1847837"/>
              <a:gd name="connsiteY65" fmla="*/ 1628483 h 1884362"/>
              <a:gd name="connsiteX66" fmla="*/ 863171 w 1847837"/>
              <a:gd name="connsiteY66" fmla="*/ 1634840 h 1884362"/>
              <a:gd name="connsiteX67" fmla="*/ 867936 w 1847837"/>
              <a:gd name="connsiteY67" fmla="*/ 1639607 h 1884362"/>
              <a:gd name="connsiteX68" fmla="*/ 874288 w 1847837"/>
              <a:gd name="connsiteY68" fmla="*/ 1645169 h 1884362"/>
              <a:gd name="connsiteX69" fmla="*/ 881435 w 1847837"/>
              <a:gd name="connsiteY69" fmla="*/ 1649936 h 1884362"/>
              <a:gd name="connsiteX70" fmla="*/ 887788 w 1847837"/>
              <a:gd name="connsiteY70" fmla="*/ 1653909 h 1884362"/>
              <a:gd name="connsiteX71" fmla="*/ 898905 w 1847837"/>
              <a:gd name="connsiteY71" fmla="*/ 1659471 h 1884362"/>
              <a:gd name="connsiteX72" fmla="*/ 908434 w 1847837"/>
              <a:gd name="connsiteY72" fmla="*/ 1668211 h 1884362"/>
              <a:gd name="connsiteX73" fmla="*/ 920345 w 1847837"/>
              <a:gd name="connsiteY73" fmla="*/ 1678540 h 1884362"/>
              <a:gd name="connsiteX74" fmla="*/ 925904 w 1847837"/>
              <a:gd name="connsiteY74" fmla="*/ 1685691 h 1884362"/>
              <a:gd name="connsiteX75" fmla="*/ 932257 w 1847837"/>
              <a:gd name="connsiteY75" fmla="*/ 1692842 h 1884362"/>
              <a:gd name="connsiteX76" fmla="*/ 937815 w 1847837"/>
              <a:gd name="connsiteY76" fmla="*/ 1700788 h 1884362"/>
              <a:gd name="connsiteX77" fmla="*/ 942580 w 1847837"/>
              <a:gd name="connsiteY77" fmla="*/ 1710322 h 1884362"/>
              <a:gd name="connsiteX78" fmla="*/ 946550 w 1847837"/>
              <a:gd name="connsiteY78" fmla="*/ 1719857 h 1884362"/>
              <a:gd name="connsiteX79" fmla="*/ 949726 w 1847837"/>
              <a:gd name="connsiteY79" fmla="*/ 1731775 h 1884362"/>
              <a:gd name="connsiteX80" fmla="*/ 951503 w 1847837"/>
              <a:gd name="connsiteY80" fmla="*/ 1740659 h 1884362"/>
              <a:gd name="connsiteX81" fmla="*/ 950899 w 1847837"/>
              <a:gd name="connsiteY81" fmla="*/ 1752711 h 1884362"/>
              <a:gd name="connsiteX82" fmla="*/ 948518 w 1847837"/>
              <a:gd name="connsiteY82" fmla="*/ 1766986 h 1884362"/>
              <a:gd name="connsiteX83" fmla="*/ 943755 w 1847837"/>
              <a:gd name="connsiteY83" fmla="*/ 1781262 h 1884362"/>
              <a:gd name="connsiteX84" fmla="*/ 937405 w 1847837"/>
              <a:gd name="connsiteY84" fmla="*/ 1793951 h 1884362"/>
              <a:gd name="connsiteX85" fmla="*/ 930262 w 1847837"/>
              <a:gd name="connsiteY85" fmla="*/ 1806640 h 1884362"/>
              <a:gd name="connsiteX86" fmla="*/ 920737 w 1847837"/>
              <a:gd name="connsiteY86" fmla="*/ 1818536 h 1884362"/>
              <a:gd name="connsiteX87" fmla="*/ 910418 w 1847837"/>
              <a:gd name="connsiteY87" fmla="*/ 1830433 h 1884362"/>
              <a:gd name="connsiteX88" fmla="*/ 898512 w 1847837"/>
              <a:gd name="connsiteY88" fmla="*/ 1841536 h 1884362"/>
              <a:gd name="connsiteX89" fmla="*/ 885018 w 1847837"/>
              <a:gd name="connsiteY89" fmla="*/ 1849467 h 1884362"/>
              <a:gd name="connsiteX90" fmla="*/ 872318 w 1847837"/>
              <a:gd name="connsiteY90" fmla="*/ 1858984 h 1884362"/>
              <a:gd name="connsiteX91" fmla="*/ 857237 w 1847837"/>
              <a:gd name="connsiteY91" fmla="*/ 1866121 h 1884362"/>
              <a:gd name="connsiteX92" fmla="*/ 840568 w 1847837"/>
              <a:gd name="connsiteY92" fmla="*/ 1872466 h 1884362"/>
              <a:gd name="connsiteX93" fmla="*/ 823899 w 1847837"/>
              <a:gd name="connsiteY93" fmla="*/ 1877224 h 1884362"/>
              <a:gd name="connsiteX94" fmla="*/ 807230 w 1847837"/>
              <a:gd name="connsiteY94" fmla="*/ 1880397 h 1884362"/>
              <a:gd name="connsiteX95" fmla="*/ 788180 w 1847837"/>
              <a:gd name="connsiteY95" fmla="*/ 1882776 h 1884362"/>
              <a:gd name="connsiteX96" fmla="*/ 769924 w 1847837"/>
              <a:gd name="connsiteY96" fmla="*/ 1884362 h 1884362"/>
              <a:gd name="connsiteX97" fmla="*/ 751668 w 1847837"/>
              <a:gd name="connsiteY97" fmla="*/ 1882776 h 1884362"/>
              <a:gd name="connsiteX98" fmla="*/ 733412 w 1847837"/>
              <a:gd name="connsiteY98" fmla="*/ 1880397 h 1884362"/>
              <a:gd name="connsiteX99" fmla="*/ 715949 w 1847837"/>
              <a:gd name="connsiteY99" fmla="*/ 1877224 h 1884362"/>
              <a:gd name="connsiteX100" fmla="*/ 699280 w 1847837"/>
              <a:gd name="connsiteY100" fmla="*/ 1872466 h 1884362"/>
              <a:gd name="connsiteX101" fmla="*/ 683405 w 1847837"/>
              <a:gd name="connsiteY101" fmla="*/ 1866121 h 1884362"/>
              <a:gd name="connsiteX102" fmla="*/ 668324 w 1847837"/>
              <a:gd name="connsiteY102" fmla="*/ 1858984 h 1884362"/>
              <a:gd name="connsiteX103" fmla="*/ 654036 w 1847837"/>
              <a:gd name="connsiteY103" fmla="*/ 1849467 h 1884362"/>
              <a:gd name="connsiteX104" fmla="*/ 641336 w 1847837"/>
              <a:gd name="connsiteY104" fmla="*/ 1841536 h 1884362"/>
              <a:gd name="connsiteX105" fmla="*/ 629430 w 1847837"/>
              <a:gd name="connsiteY105" fmla="*/ 1830433 h 1884362"/>
              <a:gd name="connsiteX106" fmla="*/ 619905 w 1847837"/>
              <a:gd name="connsiteY106" fmla="*/ 1818536 h 1884362"/>
              <a:gd name="connsiteX107" fmla="*/ 610380 w 1847837"/>
              <a:gd name="connsiteY107" fmla="*/ 1806640 h 1884362"/>
              <a:gd name="connsiteX108" fmla="*/ 601649 w 1847837"/>
              <a:gd name="connsiteY108" fmla="*/ 1793951 h 1884362"/>
              <a:gd name="connsiteX109" fmla="*/ 596093 w 1847837"/>
              <a:gd name="connsiteY109" fmla="*/ 1781262 h 1884362"/>
              <a:gd name="connsiteX110" fmla="*/ 591330 w 1847837"/>
              <a:gd name="connsiteY110" fmla="*/ 1766986 h 1884362"/>
              <a:gd name="connsiteX111" fmla="*/ 588949 w 1847837"/>
              <a:gd name="connsiteY111" fmla="*/ 1752711 h 1884362"/>
              <a:gd name="connsiteX112" fmla="*/ 588583 w 1847837"/>
              <a:gd name="connsiteY112" fmla="*/ 1749049 h 1884362"/>
              <a:gd name="connsiteX113" fmla="*/ 589212 w 1847837"/>
              <a:gd name="connsiteY113" fmla="*/ 1743694 h 1884362"/>
              <a:gd name="connsiteX114" fmla="*/ 591594 w 1847837"/>
              <a:gd name="connsiteY114" fmla="*/ 1731775 h 1884362"/>
              <a:gd name="connsiteX115" fmla="*/ 593977 w 1847837"/>
              <a:gd name="connsiteY115" fmla="*/ 1719857 h 1884362"/>
              <a:gd name="connsiteX116" fmla="*/ 598741 w 1847837"/>
              <a:gd name="connsiteY116" fmla="*/ 1710322 h 1884362"/>
              <a:gd name="connsiteX117" fmla="*/ 603506 w 1847837"/>
              <a:gd name="connsiteY117" fmla="*/ 1700788 h 1884362"/>
              <a:gd name="connsiteX118" fmla="*/ 608270 w 1847837"/>
              <a:gd name="connsiteY118" fmla="*/ 1692842 h 1884362"/>
              <a:gd name="connsiteX119" fmla="*/ 613829 w 1847837"/>
              <a:gd name="connsiteY119" fmla="*/ 1685691 h 1884362"/>
              <a:gd name="connsiteX120" fmla="*/ 620181 w 1847837"/>
              <a:gd name="connsiteY120" fmla="*/ 1678540 h 1884362"/>
              <a:gd name="connsiteX121" fmla="*/ 632093 w 1847837"/>
              <a:gd name="connsiteY121" fmla="*/ 1668211 h 1884362"/>
              <a:gd name="connsiteX122" fmla="*/ 642416 w 1847837"/>
              <a:gd name="connsiteY122" fmla="*/ 1659471 h 1884362"/>
              <a:gd name="connsiteX123" fmla="*/ 651945 w 1847837"/>
              <a:gd name="connsiteY123" fmla="*/ 1653909 h 1884362"/>
              <a:gd name="connsiteX124" fmla="*/ 659886 w 1847837"/>
              <a:gd name="connsiteY124" fmla="*/ 1649936 h 1884362"/>
              <a:gd name="connsiteX125" fmla="*/ 667032 w 1847837"/>
              <a:gd name="connsiteY125" fmla="*/ 1645169 h 1884362"/>
              <a:gd name="connsiteX126" fmla="*/ 673385 w 1847837"/>
              <a:gd name="connsiteY126" fmla="*/ 1639607 h 1884362"/>
              <a:gd name="connsiteX127" fmla="*/ 678150 w 1847837"/>
              <a:gd name="connsiteY127" fmla="*/ 1634840 h 1884362"/>
              <a:gd name="connsiteX128" fmla="*/ 681326 w 1847837"/>
              <a:gd name="connsiteY128" fmla="*/ 1628483 h 1884362"/>
              <a:gd name="connsiteX129" fmla="*/ 683708 w 1847837"/>
              <a:gd name="connsiteY129" fmla="*/ 1623716 h 1884362"/>
              <a:gd name="connsiteX130" fmla="*/ 683708 w 1847837"/>
              <a:gd name="connsiteY130" fmla="*/ 1618154 h 1884362"/>
              <a:gd name="connsiteX131" fmla="*/ 683708 w 1847837"/>
              <a:gd name="connsiteY131" fmla="*/ 1613387 h 1884362"/>
              <a:gd name="connsiteX132" fmla="*/ 682914 w 1847837"/>
              <a:gd name="connsiteY132" fmla="*/ 1608620 h 1884362"/>
              <a:gd name="connsiteX133" fmla="*/ 682206 w 1847837"/>
              <a:gd name="connsiteY133" fmla="*/ 1607201 h 1884362"/>
              <a:gd name="connsiteX134" fmla="*/ 683405 w 1847837"/>
              <a:gd name="connsiteY134" fmla="*/ 1604404 h 1884362"/>
              <a:gd name="connsiteX135" fmla="*/ 683405 w 1847837"/>
              <a:gd name="connsiteY135" fmla="*/ 1599646 h 1884362"/>
              <a:gd name="connsiteX136" fmla="*/ 683405 w 1847837"/>
              <a:gd name="connsiteY136" fmla="*/ 1593301 h 1884362"/>
              <a:gd name="connsiteX137" fmla="*/ 682612 w 1847837"/>
              <a:gd name="connsiteY137" fmla="*/ 1588543 h 1884362"/>
              <a:gd name="connsiteX138" fmla="*/ 680230 w 1847837"/>
              <a:gd name="connsiteY138" fmla="*/ 1585370 h 1884362"/>
              <a:gd name="connsiteX139" fmla="*/ 676262 w 1847837"/>
              <a:gd name="connsiteY139" fmla="*/ 1580612 h 1884362"/>
              <a:gd name="connsiteX140" fmla="*/ 671499 w 1847837"/>
              <a:gd name="connsiteY140" fmla="*/ 1576647 h 1884362"/>
              <a:gd name="connsiteX141" fmla="*/ 666736 w 1847837"/>
              <a:gd name="connsiteY141" fmla="*/ 1574267 h 1884362"/>
              <a:gd name="connsiteX142" fmla="*/ 659593 w 1847837"/>
              <a:gd name="connsiteY142" fmla="*/ 1571888 h 1884362"/>
              <a:gd name="connsiteX143" fmla="*/ 651655 w 1847837"/>
              <a:gd name="connsiteY143" fmla="*/ 1571095 h 1884362"/>
              <a:gd name="connsiteX144" fmla="*/ 642130 w 1847837"/>
              <a:gd name="connsiteY144" fmla="*/ 1569509 h 1884362"/>
              <a:gd name="connsiteX145" fmla="*/ 0 w 1847837"/>
              <a:gd name="connsiteY145" fmla="*/ 1569509 h 1884362"/>
              <a:gd name="connsiteX146" fmla="*/ 0 w 1847837"/>
              <a:gd name="connsiteY146" fmla="*/ 0 h 1884362"/>
              <a:gd name="connsiteX147" fmla="*/ 673880 w 1847837"/>
              <a:gd name="connsiteY147" fmla="*/ 0 h 1884362"/>
              <a:gd name="connsiteX148" fmla="*/ 680230 w 1847837"/>
              <a:gd name="connsiteY148" fmla="*/ 6345 h 1884362"/>
              <a:gd name="connsiteX149" fmla="*/ 683405 w 1847837"/>
              <a:gd name="connsiteY149" fmla="*/ 11896 h 1884362"/>
              <a:gd name="connsiteX150" fmla="*/ 683405 w 1847837"/>
              <a:gd name="connsiteY150" fmla="*/ 16446 h 1884362"/>
              <a:gd name="connsiteX151" fmla="*/ 683405 w 1847837"/>
              <a:gd name="connsiteY151" fmla="*/ 21204 h 1884362"/>
              <a:gd name="connsiteX152" fmla="*/ 681024 w 1847837"/>
              <a:gd name="connsiteY152" fmla="*/ 26756 h 1884362"/>
              <a:gd name="connsiteX153" fmla="*/ 677849 w 1847837"/>
              <a:gd name="connsiteY153" fmla="*/ 31514 h 1884362"/>
              <a:gd name="connsiteX154" fmla="*/ 673086 w 1847837"/>
              <a:gd name="connsiteY154" fmla="*/ 37859 h 1884362"/>
              <a:gd name="connsiteX155" fmla="*/ 666736 w 1847837"/>
              <a:gd name="connsiteY155" fmla="*/ 42618 h 1884362"/>
              <a:gd name="connsiteX156" fmla="*/ 659592 w 1847837"/>
              <a:gd name="connsiteY156" fmla="*/ 47376 h 1884362"/>
              <a:gd name="connsiteX157" fmla="*/ 651655 w 1847837"/>
              <a:gd name="connsiteY157" fmla="*/ 52135 h 1884362"/>
              <a:gd name="connsiteX158" fmla="*/ 642130 w 1847837"/>
              <a:gd name="connsiteY158" fmla="*/ 57686 h 1884362"/>
              <a:gd name="connsiteX159" fmla="*/ 631811 w 1847837"/>
              <a:gd name="connsiteY159" fmla="*/ 64824 h 1884362"/>
              <a:gd name="connsiteX160" fmla="*/ 619905 w 1847837"/>
              <a:gd name="connsiteY160" fmla="*/ 75927 h 1884362"/>
              <a:gd name="connsiteX161" fmla="*/ 613555 w 1847837"/>
              <a:gd name="connsiteY161" fmla="*/ 83065 h 1884362"/>
              <a:gd name="connsiteX162" fmla="*/ 607999 w 1847837"/>
              <a:gd name="connsiteY162" fmla="*/ 90202 h 1884362"/>
              <a:gd name="connsiteX163" fmla="*/ 603236 w 1847837"/>
              <a:gd name="connsiteY163" fmla="*/ 98926 h 1884362"/>
              <a:gd name="connsiteX164" fmla="*/ 598474 w 1847837"/>
              <a:gd name="connsiteY164" fmla="*/ 107650 h 1884362"/>
              <a:gd name="connsiteX165" fmla="*/ 593711 w 1847837"/>
              <a:gd name="connsiteY165" fmla="*/ 117960 h 1884362"/>
              <a:gd name="connsiteX166" fmla="*/ 591330 w 1847837"/>
              <a:gd name="connsiteY166" fmla="*/ 129063 h 1884362"/>
              <a:gd name="connsiteX167" fmla="*/ 588949 w 1847837"/>
              <a:gd name="connsiteY167" fmla="*/ 140960 h 1884362"/>
              <a:gd name="connsiteX168" fmla="*/ 587361 w 1847837"/>
              <a:gd name="connsiteY168" fmla="*/ 153649 h 1884362"/>
              <a:gd name="connsiteX169" fmla="*/ 588949 w 1847837"/>
              <a:gd name="connsiteY169" fmla="*/ 169511 h 1884362"/>
              <a:gd name="connsiteX170" fmla="*/ 588949 w 1847837"/>
              <a:gd name="connsiteY170" fmla="*/ 174478 h 1884362"/>
              <a:gd name="connsiteX171" fmla="*/ 592124 w 1847837"/>
              <a:gd name="connsiteY171" fmla="*/ 188754 h 1884362"/>
              <a:gd name="connsiteX172" fmla="*/ 596093 w 1847837"/>
              <a:gd name="connsiteY172" fmla="*/ 203029 h 1884362"/>
              <a:gd name="connsiteX173" fmla="*/ 603236 w 1847837"/>
              <a:gd name="connsiteY173" fmla="*/ 215718 h 1884362"/>
              <a:gd name="connsiteX174" fmla="*/ 610380 w 1847837"/>
              <a:gd name="connsiteY174" fmla="*/ 229201 h 1884362"/>
              <a:gd name="connsiteX175" fmla="*/ 619905 w 1847837"/>
              <a:gd name="connsiteY175" fmla="*/ 241097 h 1884362"/>
              <a:gd name="connsiteX176" fmla="*/ 630224 w 1847837"/>
              <a:gd name="connsiteY176" fmla="*/ 252993 h 1884362"/>
              <a:gd name="connsiteX177" fmla="*/ 642130 w 1847837"/>
              <a:gd name="connsiteY177" fmla="*/ 262510 h 1884362"/>
              <a:gd name="connsiteX178" fmla="*/ 654036 w 1847837"/>
              <a:gd name="connsiteY178" fmla="*/ 272027 h 1884362"/>
              <a:gd name="connsiteX179" fmla="*/ 668324 w 1847837"/>
              <a:gd name="connsiteY179" fmla="*/ 279958 h 1884362"/>
              <a:gd name="connsiteX180" fmla="*/ 683405 w 1847837"/>
              <a:gd name="connsiteY180" fmla="*/ 288682 h 1884362"/>
              <a:gd name="connsiteX181" fmla="*/ 699280 w 1847837"/>
              <a:gd name="connsiteY181" fmla="*/ 294234 h 1884362"/>
              <a:gd name="connsiteX182" fmla="*/ 715949 w 1847837"/>
              <a:gd name="connsiteY182" fmla="*/ 298992 h 1884362"/>
              <a:gd name="connsiteX183" fmla="*/ 733412 w 1847837"/>
              <a:gd name="connsiteY183" fmla="*/ 302957 h 1884362"/>
              <a:gd name="connsiteX184" fmla="*/ 751668 w 1847837"/>
              <a:gd name="connsiteY184" fmla="*/ 305337 h 1884362"/>
              <a:gd name="connsiteX185" fmla="*/ 769924 w 1847837"/>
              <a:gd name="connsiteY185" fmla="*/ 306130 h 1884362"/>
              <a:gd name="connsiteX186" fmla="*/ 788974 w 1847837"/>
              <a:gd name="connsiteY186" fmla="*/ 305337 h 1884362"/>
              <a:gd name="connsiteX187" fmla="*/ 807230 w 1847837"/>
              <a:gd name="connsiteY187" fmla="*/ 302957 h 1884362"/>
              <a:gd name="connsiteX188" fmla="*/ 824693 w 1847837"/>
              <a:gd name="connsiteY188" fmla="*/ 298992 h 1884362"/>
              <a:gd name="connsiteX189" fmla="*/ 841362 w 1847837"/>
              <a:gd name="connsiteY189" fmla="*/ 294234 h 1884362"/>
              <a:gd name="connsiteX190" fmla="*/ 857237 w 1847837"/>
              <a:gd name="connsiteY190" fmla="*/ 288682 h 1884362"/>
              <a:gd name="connsiteX191" fmla="*/ 872318 w 1847837"/>
              <a:gd name="connsiteY191" fmla="*/ 279958 h 1884362"/>
              <a:gd name="connsiteX192" fmla="*/ 886605 w 1847837"/>
              <a:gd name="connsiteY192" fmla="*/ 272027 h 1884362"/>
              <a:gd name="connsiteX193" fmla="*/ 899305 w 1847837"/>
              <a:gd name="connsiteY193" fmla="*/ 262510 h 1884362"/>
              <a:gd name="connsiteX194" fmla="*/ 910418 w 1847837"/>
              <a:gd name="connsiteY194" fmla="*/ 252993 h 1884362"/>
              <a:gd name="connsiteX195" fmla="*/ 920737 w 1847837"/>
              <a:gd name="connsiteY195" fmla="*/ 241097 h 1884362"/>
              <a:gd name="connsiteX196" fmla="*/ 930262 w 1847837"/>
              <a:gd name="connsiteY196" fmla="*/ 229201 h 1884362"/>
              <a:gd name="connsiteX197" fmla="*/ 937405 w 1847837"/>
              <a:gd name="connsiteY197" fmla="*/ 215718 h 1884362"/>
              <a:gd name="connsiteX198" fmla="*/ 944549 w 1847837"/>
              <a:gd name="connsiteY198" fmla="*/ 203029 h 1884362"/>
              <a:gd name="connsiteX199" fmla="*/ 948518 w 1847837"/>
              <a:gd name="connsiteY199" fmla="*/ 188754 h 1884362"/>
              <a:gd name="connsiteX200" fmla="*/ 951693 w 1847837"/>
              <a:gd name="connsiteY200" fmla="*/ 174478 h 1884362"/>
              <a:gd name="connsiteX201" fmla="*/ 953280 w 1847837"/>
              <a:gd name="connsiteY201" fmla="*/ 159410 h 1884362"/>
              <a:gd name="connsiteX202" fmla="*/ 951693 w 1847837"/>
              <a:gd name="connsiteY202" fmla="*/ 145927 h 1884362"/>
              <a:gd name="connsiteX203" fmla="*/ 951692 w 1847837"/>
              <a:gd name="connsiteY203" fmla="*/ 145922 h 1884362"/>
              <a:gd name="connsiteX204" fmla="*/ 951692 w 1847837"/>
              <a:gd name="connsiteY204" fmla="*/ 140960 h 1884362"/>
              <a:gd name="connsiteX205" fmla="*/ 949311 w 1847837"/>
              <a:gd name="connsiteY205" fmla="*/ 129063 h 1884362"/>
              <a:gd name="connsiteX206" fmla="*/ 946136 w 1847837"/>
              <a:gd name="connsiteY206" fmla="*/ 117960 h 1884362"/>
              <a:gd name="connsiteX207" fmla="*/ 942167 w 1847837"/>
              <a:gd name="connsiteY207" fmla="*/ 107650 h 1884362"/>
              <a:gd name="connsiteX208" fmla="*/ 937405 w 1847837"/>
              <a:gd name="connsiteY208" fmla="*/ 98926 h 1884362"/>
              <a:gd name="connsiteX209" fmla="*/ 931849 w 1847837"/>
              <a:gd name="connsiteY209" fmla="*/ 90202 h 1884362"/>
              <a:gd name="connsiteX210" fmla="*/ 925499 w 1847837"/>
              <a:gd name="connsiteY210" fmla="*/ 83065 h 1884362"/>
              <a:gd name="connsiteX211" fmla="*/ 919942 w 1847837"/>
              <a:gd name="connsiteY211" fmla="*/ 75927 h 1884362"/>
              <a:gd name="connsiteX212" fmla="*/ 908036 w 1847837"/>
              <a:gd name="connsiteY212" fmla="*/ 64824 h 1884362"/>
              <a:gd name="connsiteX213" fmla="*/ 898511 w 1847837"/>
              <a:gd name="connsiteY213" fmla="*/ 57686 h 1884362"/>
              <a:gd name="connsiteX214" fmla="*/ 887399 w 1847837"/>
              <a:gd name="connsiteY214" fmla="*/ 52135 h 1884362"/>
              <a:gd name="connsiteX215" fmla="*/ 881049 w 1847837"/>
              <a:gd name="connsiteY215" fmla="*/ 47376 h 1884362"/>
              <a:gd name="connsiteX216" fmla="*/ 873905 w 1847837"/>
              <a:gd name="connsiteY216" fmla="*/ 42618 h 1884362"/>
              <a:gd name="connsiteX217" fmla="*/ 867555 w 1847837"/>
              <a:gd name="connsiteY217" fmla="*/ 37859 h 1884362"/>
              <a:gd name="connsiteX218" fmla="*/ 862792 w 1847837"/>
              <a:gd name="connsiteY218" fmla="*/ 31514 h 1884362"/>
              <a:gd name="connsiteX219" fmla="*/ 859617 w 1847837"/>
              <a:gd name="connsiteY219" fmla="*/ 26756 h 1884362"/>
              <a:gd name="connsiteX220" fmla="*/ 857236 w 1847837"/>
              <a:gd name="connsiteY220" fmla="*/ 21204 h 1884362"/>
              <a:gd name="connsiteX221" fmla="*/ 855995 w 1847837"/>
              <a:gd name="connsiteY221" fmla="*/ 17481 h 1884362"/>
              <a:gd name="connsiteX222" fmla="*/ 857237 w 1847837"/>
              <a:gd name="connsiteY222" fmla="*/ 11896 h 1884362"/>
              <a:gd name="connsiteX223" fmla="*/ 860412 w 1847837"/>
              <a:gd name="connsiteY223" fmla="*/ 6345 h 1884362"/>
              <a:gd name="connsiteX224" fmla="*/ 866762 w 1847837"/>
              <a:gd name="connsiteY224" fmla="*/ 0 h 1884362"/>
              <a:gd name="connsiteX225" fmla="*/ 1534305 w 1847837"/>
              <a:gd name="connsiteY225" fmla="*/ 0 h 1884362"/>
              <a:gd name="connsiteX226" fmla="*/ 1534305 w 1847837"/>
              <a:gd name="connsiteY226" fmla="*/ 636052 h 1884362"/>
              <a:gd name="connsiteX227" fmla="*/ 1534305 w 1847837"/>
              <a:gd name="connsiteY227" fmla="*/ 645569 h 1884362"/>
              <a:gd name="connsiteX228" fmla="*/ 1535893 w 1847837"/>
              <a:gd name="connsiteY228" fmla="*/ 653499 h 1884362"/>
              <a:gd name="connsiteX229" fmla="*/ 1538274 w 1847837"/>
              <a:gd name="connsiteY229" fmla="*/ 660637 h 1884362"/>
              <a:gd name="connsiteX230" fmla="*/ 1541449 w 1847837"/>
              <a:gd name="connsiteY230" fmla="*/ 666189 h 1884362"/>
              <a:gd name="connsiteX231" fmla="*/ 1545418 w 1847837"/>
              <a:gd name="connsiteY231" fmla="*/ 670947 h 1884362"/>
              <a:gd name="connsiteX232" fmla="*/ 1548593 w 1847837"/>
              <a:gd name="connsiteY232" fmla="*/ 674913 h 1884362"/>
              <a:gd name="connsiteX233" fmla="*/ 1553355 w 1847837"/>
              <a:gd name="connsiteY233" fmla="*/ 677292 h 1884362"/>
              <a:gd name="connsiteX234" fmla="*/ 1558118 w 1847837"/>
              <a:gd name="connsiteY234" fmla="*/ 678085 h 1884362"/>
              <a:gd name="connsiteX235" fmla="*/ 1562880 w 1847837"/>
              <a:gd name="connsiteY235" fmla="*/ 678085 h 1884362"/>
              <a:gd name="connsiteX236" fmla="*/ 1569230 w 1847837"/>
              <a:gd name="connsiteY236" fmla="*/ 677292 h 1884362"/>
              <a:gd name="connsiteX237" fmla="*/ 1573993 w 1847837"/>
              <a:gd name="connsiteY237" fmla="*/ 674913 h 1884362"/>
              <a:gd name="connsiteX238" fmla="*/ 1574900 w 1847837"/>
              <a:gd name="connsiteY238" fmla="*/ 674266 h 1884362"/>
              <a:gd name="connsiteX239" fmla="*/ 1577168 w 1847837"/>
              <a:gd name="connsiteY239" fmla="*/ 673618 h 1884362"/>
              <a:gd name="connsiteX240" fmla="*/ 1581931 w 1847837"/>
              <a:gd name="connsiteY240" fmla="*/ 671238 h 1884362"/>
              <a:gd name="connsiteX241" fmla="*/ 1588281 w 1847837"/>
              <a:gd name="connsiteY241" fmla="*/ 668064 h 1884362"/>
              <a:gd name="connsiteX242" fmla="*/ 1593043 w 1847837"/>
              <a:gd name="connsiteY242" fmla="*/ 663303 h 1884362"/>
              <a:gd name="connsiteX243" fmla="*/ 1598599 w 1847837"/>
              <a:gd name="connsiteY243" fmla="*/ 657749 h 1884362"/>
              <a:gd name="connsiteX244" fmla="*/ 1603362 w 1847837"/>
              <a:gd name="connsiteY244" fmla="*/ 650608 h 1884362"/>
              <a:gd name="connsiteX245" fmla="*/ 1608124 w 1847837"/>
              <a:gd name="connsiteY245" fmla="*/ 643467 h 1884362"/>
              <a:gd name="connsiteX246" fmla="*/ 1614474 w 1847837"/>
              <a:gd name="connsiteY246" fmla="*/ 632358 h 1884362"/>
              <a:gd name="connsiteX247" fmla="*/ 1621618 w 1847837"/>
              <a:gd name="connsiteY247" fmla="*/ 622837 h 1884362"/>
              <a:gd name="connsiteX248" fmla="*/ 1631937 w 1847837"/>
              <a:gd name="connsiteY248" fmla="*/ 610935 h 1884362"/>
              <a:gd name="connsiteX249" fmla="*/ 1639081 w 1847837"/>
              <a:gd name="connsiteY249" fmla="*/ 605381 h 1884362"/>
              <a:gd name="connsiteX250" fmla="*/ 1646224 w 1847837"/>
              <a:gd name="connsiteY250" fmla="*/ 599033 h 1884362"/>
              <a:gd name="connsiteX251" fmla="*/ 1654956 w 1847837"/>
              <a:gd name="connsiteY251" fmla="*/ 593479 h 1884362"/>
              <a:gd name="connsiteX252" fmla="*/ 1664403 w 1847837"/>
              <a:gd name="connsiteY252" fmla="*/ 588757 h 1884362"/>
              <a:gd name="connsiteX253" fmla="*/ 1665274 w 1847837"/>
              <a:gd name="connsiteY253" fmla="*/ 588467 h 1884362"/>
              <a:gd name="connsiteX254" fmla="*/ 1677180 w 1847837"/>
              <a:gd name="connsiteY254" fmla="*/ 584501 h 1884362"/>
              <a:gd name="connsiteX255" fmla="*/ 1689087 w 1847837"/>
              <a:gd name="connsiteY255" fmla="*/ 582122 h 1884362"/>
              <a:gd name="connsiteX256" fmla="*/ 1701787 w 1847837"/>
              <a:gd name="connsiteY256" fmla="*/ 582122 h 1884362"/>
              <a:gd name="connsiteX257" fmla="*/ 1716074 w 1847837"/>
              <a:gd name="connsiteY257" fmla="*/ 582122 h 1884362"/>
              <a:gd name="connsiteX258" fmla="*/ 1731155 w 1847837"/>
              <a:gd name="connsiteY258" fmla="*/ 586088 h 1884362"/>
              <a:gd name="connsiteX259" fmla="*/ 1744649 w 1847837"/>
              <a:gd name="connsiteY259" fmla="*/ 590846 h 1884362"/>
              <a:gd name="connsiteX260" fmla="*/ 1758937 w 1847837"/>
              <a:gd name="connsiteY260" fmla="*/ 596398 h 1884362"/>
              <a:gd name="connsiteX261" fmla="*/ 1770843 w 1847837"/>
              <a:gd name="connsiteY261" fmla="*/ 603535 h 1884362"/>
              <a:gd name="connsiteX262" fmla="*/ 1783543 w 1847837"/>
              <a:gd name="connsiteY262" fmla="*/ 613052 h 1884362"/>
              <a:gd name="connsiteX263" fmla="*/ 1794655 w 1847837"/>
              <a:gd name="connsiteY263" fmla="*/ 624155 h 1884362"/>
              <a:gd name="connsiteX264" fmla="*/ 1804974 w 1847837"/>
              <a:gd name="connsiteY264" fmla="*/ 636052 h 1884362"/>
              <a:gd name="connsiteX265" fmla="*/ 1814499 w 1847837"/>
              <a:gd name="connsiteY265" fmla="*/ 647948 h 1884362"/>
              <a:gd name="connsiteX266" fmla="*/ 1822437 w 1847837"/>
              <a:gd name="connsiteY266" fmla="*/ 662223 h 1884362"/>
              <a:gd name="connsiteX267" fmla="*/ 1829580 w 1847837"/>
              <a:gd name="connsiteY267" fmla="*/ 677292 h 1884362"/>
              <a:gd name="connsiteX268" fmla="*/ 1835930 w 1847837"/>
              <a:gd name="connsiteY268" fmla="*/ 692360 h 1884362"/>
              <a:gd name="connsiteX269" fmla="*/ 1840693 w 1847837"/>
              <a:gd name="connsiteY269" fmla="*/ 709015 h 1884362"/>
              <a:gd name="connsiteX270" fmla="*/ 1845455 w 1847837"/>
              <a:gd name="connsiteY270" fmla="*/ 727256 h 1884362"/>
              <a:gd name="connsiteX271" fmla="*/ 1846249 w 1847837"/>
              <a:gd name="connsiteY271" fmla="*/ 744704 h 1884362"/>
              <a:gd name="connsiteX272" fmla="*/ 1847837 w 1847837"/>
              <a:gd name="connsiteY272" fmla="*/ 763738 h 188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1847837" h="1884362">
                <a:moveTo>
                  <a:pt x="1847837" y="763738"/>
                </a:moveTo>
                <a:lnTo>
                  <a:pt x="1846249" y="782772"/>
                </a:lnTo>
                <a:lnTo>
                  <a:pt x="1845455" y="800220"/>
                </a:lnTo>
                <a:lnTo>
                  <a:pt x="1840693" y="818460"/>
                </a:lnTo>
                <a:lnTo>
                  <a:pt x="1835930" y="835115"/>
                </a:lnTo>
                <a:lnTo>
                  <a:pt x="1829580" y="850184"/>
                </a:lnTo>
                <a:lnTo>
                  <a:pt x="1822437" y="866045"/>
                </a:lnTo>
                <a:lnTo>
                  <a:pt x="1814499" y="880321"/>
                </a:lnTo>
                <a:lnTo>
                  <a:pt x="1804974" y="893010"/>
                </a:lnTo>
                <a:lnTo>
                  <a:pt x="1794655" y="904906"/>
                </a:lnTo>
                <a:lnTo>
                  <a:pt x="1783543" y="914423"/>
                </a:lnTo>
                <a:lnTo>
                  <a:pt x="1770843" y="923940"/>
                </a:lnTo>
                <a:lnTo>
                  <a:pt x="1758937" y="931078"/>
                </a:lnTo>
                <a:lnTo>
                  <a:pt x="1746897" y="937093"/>
                </a:lnTo>
                <a:lnTo>
                  <a:pt x="1740841" y="939111"/>
                </a:lnTo>
                <a:lnTo>
                  <a:pt x="1738521" y="939656"/>
                </a:lnTo>
                <a:lnTo>
                  <a:pt x="1725599" y="941809"/>
                </a:lnTo>
                <a:lnTo>
                  <a:pt x="1710518" y="943396"/>
                </a:lnTo>
                <a:lnTo>
                  <a:pt x="1697024" y="941809"/>
                </a:lnTo>
                <a:lnTo>
                  <a:pt x="1685912" y="939429"/>
                </a:lnTo>
                <a:lnTo>
                  <a:pt x="1674799" y="937048"/>
                </a:lnTo>
                <a:lnTo>
                  <a:pt x="1664481" y="932288"/>
                </a:lnTo>
                <a:lnTo>
                  <a:pt x="1654956" y="927527"/>
                </a:lnTo>
                <a:lnTo>
                  <a:pt x="1646224" y="922766"/>
                </a:lnTo>
                <a:lnTo>
                  <a:pt x="1639081" y="917212"/>
                </a:lnTo>
                <a:lnTo>
                  <a:pt x="1631937" y="910864"/>
                </a:lnTo>
                <a:lnTo>
                  <a:pt x="1621618" y="898962"/>
                </a:lnTo>
                <a:lnTo>
                  <a:pt x="1614474" y="888647"/>
                </a:lnTo>
                <a:lnTo>
                  <a:pt x="1608124" y="879126"/>
                </a:lnTo>
                <a:lnTo>
                  <a:pt x="1603362" y="871191"/>
                </a:lnTo>
                <a:lnTo>
                  <a:pt x="1598599" y="864050"/>
                </a:lnTo>
                <a:lnTo>
                  <a:pt x="1593043" y="857702"/>
                </a:lnTo>
                <a:lnTo>
                  <a:pt x="1588281" y="852941"/>
                </a:lnTo>
                <a:lnTo>
                  <a:pt x="1581931" y="849767"/>
                </a:lnTo>
                <a:lnTo>
                  <a:pt x="1577168" y="847387"/>
                </a:lnTo>
                <a:lnTo>
                  <a:pt x="1571612" y="847387"/>
                </a:lnTo>
                <a:lnTo>
                  <a:pt x="1566849" y="847387"/>
                </a:lnTo>
                <a:lnTo>
                  <a:pt x="1562087" y="848180"/>
                </a:lnTo>
                <a:lnTo>
                  <a:pt x="1559665" y="849391"/>
                </a:lnTo>
                <a:lnTo>
                  <a:pt x="1558118" y="849391"/>
                </a:lnTo>
                <a:lnTo>
                  <a:pt x="1553355" y="850184"/>
                </a:lnTo>
                <a:lnTo>
                  <a:pt x="1548593" y="852563"/>
                </a:lnTo>
                <a:lnTo>
                  <a:pt x="1545418" y="856528"/>
                </a:lnTo>
                <a:lnTo>
                  <a:pt x="1541449" y="861287"/>
                </a:lnTo>
                <a:lnTo>
                  <a:pt x="1538274" y="866838"/>
                </a:lnTo>
                <a:lnTo>
                  <a:pt x="1535893" y="873976"/>
                </a:lnTo>
                <a:lnTo>
                  <a:pt x="1534305" y="882700"/>
                </a:lnTo>
                <a:lnTo>
                  <a:pt x="1534305" y="892217"/>
                </a:lnTo>
                <a:lnTo>
                  <a:pt x="1534305" y="1569509"/>
                </a:lnTo>
                <a:lnTo>
                  <a:pt x="896924" y="1569509"/>
                </a:lnTo>
                <a:lnTo>
                  <a:pt x="888987" y="1571095"/>
                </a:lnTo>
                <a:lnTo>
                  <a:pt x="881049" y="1571888"/>
                </a:lnTo>
                <a:lnTo>
                  <a:pt x="873905" y="1574267"/>
                </a:lnTo>
                <a:lnTo>
                  <a:pt x="867555" y="1576647"/>
                </a:lnTo>
                <a:lnTo>
                  <a:pt x="862793" y="1580612"/>
                </a:lnTo>
                <a:lnTo>
                  <a:pt x="859618" y="1585370"/>
                </a:lnTo>
                <a:lnTo>
                  <a:pt x="857237" y="1588543"/>
                </a:lnTo>
                <a:lnTo>
                  <a:pt x="855649" y="1593301"/>
                </a:lnTo>
                <a:lnTo>
                  <a:pt x="855649" y="1599646"/>
                </a:lnTo>
                <a:lnTo>
                  <a:pt x="857237" y="1604404"/>
                </a:lnTo>
                <a:lnTo>
                  <a:pt x="858384" y="1607077"/>
                </a:lnTo>
                <a:lnTo>
                  <a:pt x="857613" y="1608620"/>
                </a:lnTo>
                <a:lnTo>
                  <a:pt x="856024" y="1613387"/>
                </a:lnTo>
                <a:lnTo>
                  <a:pt x="856024" y="1618154"/>
                </a:lnTo>
                <a:lnTo>
                  <a:pt x="857613" y="1623716"/>
                </a:lnTo>
                <a:lnTo>
                  <a:pt x="859995" y="1628483"/>
                </a:lnTo>
                <a:lnTo>
                  <a:pt x="863171" y="1634840"/>
                </a:lnTo>
                <a:lnTo>
                  <a:pt x="867936" y="1639607"/>
                </a:lnTo>
                <a:lnTo>
                  <a:pt x="874288" y="1645169"/>
                </a:lnTo>
                <a:lnTo>
                  <a:pt x="881435" y="1649936"/>
                </a:lnTo>
                <a:lnTo>
                  <a:pt x="887788" y="1653909"/>
                </a:lnTo>
                <a:lnTo>
                  <a:pt x="898905" y="1659471"/>
                </a:lnTo>
                <a:lnTo>
                  <a:pt x="908434" y="1668211"/>
                </a:lnTo>
                <a:lnTo>
                  <a:pt x="920345" y="1678540"/>
                </a:lnTo>
                <a:lnTo>
                  <a:pt x="925904" y="1685691"/>
                </a:lnTo>
                <a:lnTo>
                  <a:pt x="932257" y="1692842"/>
                </a:lnTo>
                <a:lnTo>
                  <a:pt x="937815" y="1700788"/>
                </a:lnTo>
                <a:lnTo>
                  <a:pt x="942580" y="1710322"/>
                </a:lnTo>
                <a:lnTo>
                  <a:pt x="946550" y="1719857"/>
                </a:lnTo>
                <a:lnTo>
                  <a:pt x="949726" y="1731775"/>
                </a:lnTo>
                <a:lnTo>
                  <a:pt x="951503" y="1740659"/>
                </a:lnTo>
                <a:lnTo>
                  <a:pt x="950899" y="1752711"/>
                </a:lnTo>
                <a:lnTo>
                  <a:pt x="948518" y="1766986"/>
                </a:lnTo>
                <a:lnTo>
                  <a:pt x="943755" y="1781262"/>
                </a:lnTo>
                <a:lnTo>
                  <a:pt x="937405" y="1793951"/>
                </a:lnTo>
                <a:lnTo>
                  <a:pt x="930262" y="1806640"/>
                </a:lnTo>
                <a:lnTo>
                  <a:pt x="920737" y="1818536"/>
                </a:lnTo>
                <a:lnTo>
                  <a:pt x="910418" y="1830433"/>
                </a:lnTo>
                <a:lnTo>
                  <a:pt x="898512" y="1841536"/>
                </a:lnTo>
                <a:lnTo>
                  <a:pt x="885018" y="1849467"/>
                </a:lnTo>
                <a:lnTo>
                  <a:pt x="872318" y="1858984"/>
                </a:lnTo>
                <a:lnTo>
                  <a:pt x="857237" y="1866121"/>
                </a:lnTo>
                <a:lnTo>
                  <a:pt x="840568" y="1872466"/>
                </a:lnTo>
                <a:lnTo>
                  <a:pt x="823899" y="1877224"/>
                </a:lnTo>
                <a:lnTo>
                  <a:pt x="807230" y="1880397"/>
                </a:lnTo>
                <a:lnTo>
                  <a:pt x="788180" y="1882776"/>
                </a:lnTo>
                <a:lnTo>
                  <a:pt x="769924" y="1884362"/>
                </a:lnTo>
                <a:lnTo>
                  <a:pt x="751668" y="1882776"/>
                </a:lnTo>
                <a:lnTo>
                  <a:pt x="733412" y="1880397"/>
                </a:lnTo>
                <a:lnTo>
                  <a:pt x="715949" y="1877224"/>
                </a:lnTo>
                <a:lnTo>
                  <a:pt x="699280" y="1872466"/>
                </a:lnTo>
                <a:lnTo>
                  <a:pt x="683405" y="1866121"/>
                </a:lnTo>
                <a:lnTo>
                  <a:pt x="668324" y="1858984"/>
                </a:lnTo>
                <a:lnTo>
                  <a:pt x="654036" y="1849467"/>
                </a:lnTo>
                <a:lnTo>
                  <a:pt x="641336" y="1841536"/>
                </a:lnTo>
                <a:lnTo>
                  <a:pt x="629430" y="1830433"/>
                </a:lnTo>
                <a:lnTo>
                  <a:pt x="619905" y="1818536"/>
                </a:lnTo>
                <a:lnTo>
                  <a:pt x="610380" y="1806640"/>
                </a:lnTo>
                <a:lnTo>
                  <a:pt x="601649" y="1793951"/>
                </a:lnTo>
                <a:lnTo>
                  <a:pt x="596093" y="1781262"/>
                </a:lnTo>
                <a:lnTo>
                  <a:pt x="591330" y="1766986"/>
                </a:lnTo>
                <a:lnTo>
                  <a:pt x="588949" y="1752711"/>
                </a:lnTo>
                <a:lnTo>
                  <a:pt x="588583" y="1749049"/>
                </a:lnTo>
                <a:lnTo>
                  <a:pt x="589212" y="1743694"/>
                </a:lnTo>
                <a:lnTo>
                  <a:pt x="591594" y="1731775"/>
                </a:lnTo>
                <a:lnTo>
                  <a:pt x="593977" y="1719857"/>
                </a:lnTo>
                <a:lnTo>
                  <a:pt x="598741" y="1710322"/>
                </a:lnTo>
                <a:lnTo>
                  <a:pt x="603506" y="1700788"/>
                </a:lnTo>
                <a:lnTo>
                  <a:pt x="608270" y="1692842"/>
                </a:lnTo>
                <a:lnTo>
                  <a:pt x="613829" y="1685691"/>
                </a:lnTo>
                <a:lnTo>
                  <a:pt x="620181" y="1678540"/>
                </a:lnTo>
                <a:lnTo>
                  <a:pt x="632093" y="1668211"/>
                </a:lnTo>
                <a:lnTo>
                  <a:pt x="642416" y="1659471"/>
                </a:lnTo>
                <a:lnTo>
                  <a:pt x="651945" y="1653909"/>
                </a:lnTo>
                <a:lnTo>
                  <a:pt x="659886" y="1649936"/>
                </a:lnTo>
                <a:lnTo>
                  <a:pt x="667032" y="1645169"/>
                </a:lnTo>
                <a:lnTo>
                  <a:pt x="673385" y="1639607"/>
                </a:lnTo>
                <a:lnTo>
                  <a:pt x="678150" y="1634840"/>
                </a:lnTo>
                <a:lnTo>
                  <a:pt x="681326" y="1628483"/>
                </a:lnTo>
                <a:lnTo>
                  <a:pt x="683708" y="1623716"/>
                </a:lnTo>
                <a:lnTo>
                  <a:pt x="683708" y="1618154"/>
                </a:lnTo>
                <a:lnTo>
                  <a:pt x="683708" y="1613387"/>
                </a:lnTo>
                <a:lnTo>
                  <a:pt x="682914" y="1608620"/>
                </a:lnTo>
                <a:lnTo>
                  <a:pt x="682206" y="1607201"/>
                </a:lnTo>
                <a:lnTo>
                  <a:pt x="683405" y="1604404"/>
                </a:lnTo>
                <a:lnTo>
                  <a:pt x="683405" y="1599646"/>
                </a:lnTo>
                <a:lnTo>
                  <a:pt x="683405" y="1593301"/>
                </a:lnTo>
                <a:lnTo>
                  <a:pt x="682612" y="1588543"/>
                </a:lnTo>
                <a:lnTo>
                  <a:pt x="680230" y="1585370"/>
                </a:lnTo>
                <a:lnTo>
                  <a:pt x="676262" y="1580612"/>
                </a:lnTo>
                <a:lnTo>
                  <a:pt x="671499" y="1576647"/>
                </a:lnTo>
                <a:lnTo>
                  <a:pt x="666736" y="1574267"/>
                </a:lnTo>
                <a:lnTo>
                  <a:pt x="659593" y="1571888"/>
                </a:lnTo>
                <a:lnTo>
                  <a:pt x="651655" y="1571095"/>
                </a:lnTo>
                <a:lnTo>
                  <a:pt x="642130" y="1569509"/>
                </a:lnTo>
                <a:lnTo>
                  <a:pt x="0" y="1569509"/>
                </a:lnTo>
                <a:lnTo>
                  <a:pt x="0" y="0"/>
                </a:lnTo>
                <a:lnTo>
                  <a:pt x="673880" y="0"/>
                </a:lnTo>
                <a:lnTo>
                  <a:pt x="680230" y="6345"/>
                </a:lnTo>
                <a:lnTo>
                  <a:pt x="683405" y="11896"/>
                </a:lnTo>
                <a:lnTo>
                  <a:pt x="683405" y="16446"/>
                </a:lnTo>
                <a:lnTo>
                  <a:pt x="683405" y="21204"/>
                </a:lnTo>
                <a:lnTo>
                  <a:pt x="681024" y="26756"/>
                </a:lnTo>
                <a:lnTo>
                  <a:pt x="677849" y="31514"/>
                </a:lnTo>
                <a:lnTo>
                  <a:pt x="673086" y="37859"/>
                </a:lnTo>
                <a:lnTo>
                  <a:pt x="666736" y="42618"/>
                </a:lnTo>
                <a:lnTo>
                  <a:pt x="659592" y="47376"/>
                </a:lnTo>
                <a:lnTo>
                  <a:pt x="651655" y="52135"/>
                </a:lnTo>
                <a:lnTo>
                  <a:pt x="642130" y="57686"/>
                </a:lnTo>
                <a:lnTo>
                  <a:pt x="631811" y="64824"/>
                </a:lnTo>
                <a:lnTo>
                  <a:pt x="619905" y="75927"/>
                </a:lnTo>
                <a:lnTo>
                  <a:pt x="613555" y="83065"/>
                </a:lnTo>
                <a:lnTo>
                  <a:pt x="607999" y="90202"/>
                </a:lnTo>
                <a:lnTo>
                  <a:pt x="603236" y="98926"/>
                </a:lnTo>
                <a:lnTo>
                  <a:pt x="598474" y="107650"/>
                </a:lnTo>
                <a:lnTo>
                  <a:pt x="593711" y="117960"/>
                </a:lnTo>
                <a:lnTo>
                  <a:pt x="591330" y="129063"/>
                </a:lnTo>
                <a:lnTo>
                  <a:pt x="588949" y="140960"/>
                </a:lnTo>
                <a:lnTo>
                  <a:pt x="587361" y="153649"/>
                </a:lnTo>
                <a:lnTo>
                  <a:pt x="588949" y="169511"/>
                </a:lnTo>
                <a:lnTo>
                  <a:pt x="588949" y="174478"/>
                </a:lnTo>
                <a:lnTo>
                  <a:pt x="592124" y="188754"/>
                </a:lnTo>
                <a:lnTo>
                  <a:pt x="596093" y="203029"/>
                </a:lnTo>
                <a:lnTo>
                  <a:pt x="603236" y="215718"/>
                </a:lnTo>
                <a:lnTo>
                  <a:pt x="610380" y="229201"/>
                </a:lnTo>
                <a:lnTo>
                  <a:pt x="619905" y="241097"/>
                </a:lnTo>
                <a:lnTo>
                  <a:pt x="630224" y="252993"/>
                </a:lnTo>
                <a:lnTo>
                  <a:pt x="642130" y="262510"/>
                </a:lnTo>
                <a:lnTo>
                  <a:pt x="654036" y="272027"/>
                </a:lnTo>
                <a:lnTo>
                  <a:pt x="668324" y="279958"/>
                </a:lnTo>
                <a:lnTo>
                  <a:pt x="683405" y="288682"/>
                </a:lnTo>
                <a:lnTo>
                  <a:pt x="699280" y="294234"/>
                </a:lnTo>
                <a:lnTo>
                  <a:pt x="715949" y="298992"/>
                </a:lnTo>
                <a:lnTo>
                  <a:pt x="733412" y="302957"/>
                </a:lnTo>
                <a:lnTo>
                  <a:pt x="751668" y="305337"/>
                </a:lnTo>
                <a:lnTo>
                  <a:pt x="769924" y="306130"/>
                </a:lnTo>
                <a:lnTo>
                  <a:pt x="788974" y="305337"/>
                </a:lnTo>
                <a:lnTo>
                  <a:pt x="807230" y="302957"/>
                </a:lnTo>
                <a:lnTo>
                  <a:pt x="824693" y="298992"/>
                </a:lnTo>
                <a:lnTo>
                  <a:pt x="841362" y="294234"/>
                </a:lnTo>
                <a:lnTo>
                  <a:pt x="857237" y="288682"/>
                </a:lnTo>
                <a:lnTo>
                  <a:pt x="872318" y="279958"/>
                </a:lnTo>
                <a:lnTo>
                  <a:pt x="886605" y="272027"/>
                </a:lnTo>
                <a:lnTo>
                  <a:pt x="899305" y="262510"/>
                </a:lnTo>
                <a:lnTo>
                  <a:pt x="910418" y="252993"/>
                </a:lnTo>
                <a:lnTo>
                  <a:pt x="920737" y="241097"/>
                </a:lnTo>
                <a:lnTo>
                  <a:pt x="930262" y="229201"/>
                </a:lnTo>
                <a:lnTo>
                  <a:pt x="937405" y="215718"/>
                </a:lnTo>
                <a:lnTo>
                  <a:pt x="944549" y="203029"/>
                </a:lnTo>
                <a:lnTo>
                  <a:pt x="948518" y="188754"/>
                </a:lnTo>
                <a:lnTo>
                  <a:pt x="951693" y="174478"/>
                </a:lnTo>
                <a:lnTo>
                  <a:pt x="953280" y="159410"/>
                </a:lnTo>
                <a:lnTo>
                  <a:pt x="951693" y="145927"/>
                </a:lnTo>
                <a:lnTo>
                  <a:pt x="951692" y="145922"/>
                </a:lnTo>
                <a:lnTo>
                  <a:pt x="951692" y="140960"/>
                </a:lnTo>
                <a:lnTo>
                  <a:pt x="949311" y="129063"/>
                </a:lnTo>
                <a:lnTo>
                  <a:pt x="946136" y="117960"/>
                </a:lnTo>
                <a:lnTo>
                  <a:pt x="942167" y="107650"/>
                </a:lnTo>
                <a:lnTo>
                  <a:pt x="937405" y="98926"/>
                </a:lnTo>
                <a:lnTo>
                  <a:pt x="931849" y="90202"/>
                </a:lnTo>
                <a:lnTo>
                  <a:pt x="925499" y="83065"/>
                </a:lnTo>
                <a:lnTo>
                  <a:pt x="919942" y="75927"/>
                </a:lnTo>
                <a:lnTo>
                  <a:pt x="908036" y="64824"/>
                </a:lnTo>
                <a:lnTo>
                  <a:pt x="898511" y="57686"/>
                </a:lnTo>
                <a:lnTo>
                  <a:pt x="887399" y="52135"/>
                </a:lnTo>
                <a:lnTo>
                  <a:pt x="881049" y="47376"/>
                </a:lnTo>
                <a:lnTo>
                  <a:pt x="873905" y="42618"/>
                </a:lnTo>
                <a:lnTo>
                  <a:pt x="867555" y="37859"/>
                </a:lnTo>
                <a:lnTo>
                  <a:pt x="862792" y="31514"/>
                </a:lnTo>
                <a:lnTo>
                  <a:pt x="859617" y="26756"/>
                </a:lnTo>
                <a:lnTo>
                  <a:pt x="857236" y="21204"/>
                </a:lnTo>
                <a:lnTo>
                  <a:pt x="855995" y="17481"/>
                </a:lnTo>
                <a:lnTo>
                  <a:pt x="857237" y="11896"/>
                </a:lnTo>
                <a:lnTo>
                  <a:pt x="860412" y="6345"/>
                </a:lnTo>
                <a:lnTo>
                  <a:pt x="866762" y="0"/>
                </a:lnTo>
                <a:lnTo>
                  <a:pt x="1534305" y="0"/>
                </a:lnTo>
                <a:lnTo>
                  <a:pt x="1534305" y="636052"/>
                </a:lnTo>
                <a:lnTo>
                  <a:pt x="1534305" y="645569"/>
                </a:lnTo>
                <a:lnTo>
                  <a:pt x="1535893" y="653499"/>
                </a:lnTo>
                <a:lnTo>
                  <a:pt x="1538274" y="660637"/>
                </a:lnTo>
                <a:lnTo>
                  <a:pt x="1541449" y="666189"/>
                </a:lnTo>
                <a:lnTo>
                  <a:pt x="1545418" y="670947"/>
                </a:lnTo>
                <a:lnTo>
                  <a:pt x="1548593" y="674913"/>
                </a:lnTo>
                <a:lnTo>
                  <a:pt x="1553355" y="677292"/>
                </a:lnTo>
                <a:lnTo>
                  <a:pt x="1558118" y="678085"/>
                </a:lnTo>
                <a:lnTo>
                  <a:pt x="1562880" y="678085"/>
                </a:lnTo>
                <a:lnTo>
                  <a:pt x="1569230" y="677292"/>
                </a:lnTo>
                <a:lnTo>
                  <a:pt x="1573993" y="674913"/>
                </a:lnTo>
                <a:lnTo>
                  <a:pt x="1574900" y="674266"/>
                </a:lnTo>
                <a:lnTo>
                  <a:pt x="1577168" y="673618"/>
                </a:lnTo>
                <a:lnTo>
                  <a:pt x="1581931" y="671238"/>
                </a:lnTo>
                <a:lnTo>
                  <a:pt x="1588281" y="668064"/>
                </a:lnTo>
                <a:lnTo>
                  <a:pt x="1593043" y="663303"/>
                </a:lnTo>
                <a:lnTo>
                  <a:pt x="1598599" y="657749"/>
                </a:lnTo>
                <a:lnTo>
                  <a:pt x="1603362" y="650608"/>
                </a:lnTo>
                <a:lnTo>
                  <a:pt x="1608124" y="643467"/>
                </a:lnTo>
                <a:lnTo>
                  <a:pt x="1614474" y="632358"/>
                </a:lnTo>
                <a:lnTo>
                  <a:pt x="1621618" y="622837"/>
                </a:lnTo>
                <a:lnTo>
                  <a:pt x="1631937" y="610935"/>
                </a:lnTo>
                <a:lnTo>
                  <a:pt x="1639081" y="605381"/>
                </a:lnTo>
                <a:lnTo>
                  <a:pt x="1646224" y="599033"/>
                </a:lnTo>
                <a:lnTo>
                  <a:pt x="1654956" y="593479"/>
                </a:lnTo>
                <a:lnTo>
                  <a:pt x="1664403" y="588757"/>
                </a:lnTo>
                <a:lnTo>
                  <a:pt x="1665274" y="588467"/>
                </a:lnTo>
                <a:lnTo>
                  <a:pt x="1677180" y="584501"/>
                </a:lnTo>
                <a:lnTo>
                  <a:pt x="1689087" y="582122"/>
                </a:lnTo>
                <a:lnTo>
                  <a:pt x="1701787" y="582122"/>
                </a:lnTo>
                <a:lnTo>
                  <a:pt x="1716074" y="582122"/>
                </a:lnTo>
                <a:lnTo>
                  <a:pt x="1731155" y="586088"/>
                </a:lnTo>
                <a:lnTo>
                  <a:pt x="1744649" y="590846"/>
                </a:lnTo>
                <a:lnTo>
                  <a:pt x="1758937" y="596398"/>
                </a:lnTo>
                <a:lnTo>
                  <a:pt x="1770843" y="603535"/>
                </a:lnTo>
                <a:lnTo>
                  <a:pt x="1783543" y="613052"/>
                </a:lnTo>
                <a:lnTo>
                  <a:pt x="1794655" y="624155"/>
                </a:lnTo>
                <a:lnTo>
                  <a:pt x="1804974" y="636052"/>
                </a:lnTo>
                <a:lnTo>
                  <a:pt x="1814499" y="647948"/>
                </a:lnTo>
                <a:lnTo>
                  <a:pt x="1822437" y="662223"/>
                </a:lnTo>
                <a:lnTo>
                  <a:pt x="1829580" y="677292"/>
                </a:lnTo>
                <a:lnTo>
                  <a:pt x="1835930" y="692360"/>
                </a:lnTo>
                <a:lnTo>
                  <a:pt x="1840693" y="709015"/>
                </a:lnTo>
                <a:lnTo>
                  <a:pt x="1845455" y="727256"/>
                </a:lnTo>
                <a:lnTo>
                  <a:pt x="1846249" y="744704"/>
                </a:lnTo>
                <a:lnTo>
                  <a:pt x="1847837" y="763738"/>
                </a:lnTo>
                <a:close/>
              </a:path>
            </a:pathLst>
          </a:custGeom>
          <a:ln>
            <a:solidFill>
              <a:schemeClr val="tx1">
                <a:lumMod val="50000"/>
                <a:lumOff val="50000"/>
              </a:schemeClr>
            </a:solidFill>
          </a:ln>
        </p:spPr>
      </p:pic>
      <p:pic>
        <p:nvPicPr>
          <p:cNvPr id="11" name="Picture 10">
            <a:extLst>
              <a:ext uri="{FF2B5EF4-FFF2-40B4-BE49-F238E27FC236}">
                <a16:creationId xmlns:a16="http://schemas.microsoft.com/office/drawing/2014/main" id="{187C60E6-269B-439E-AC64-A7596BC07C97}"/>
              </a:ext>
            </a:extLst>
          </p:cNvPr>
          <p:cNvPicPr>
            <a:picLocks noChangeAspect="1"/>
          </p:cNvPicPr>
          <p:nvPr/>
        </p:nvPicPr>
        <p:blipFill rotWithShape="1">
          <a:blip r:embed="rId2"/>
          <a:srcRect l="9351" t="25362" r="56381" b="45050"/>
          <a:stretch/>
        </p:blipFill>
        <p:spPr>
          <a:xfrm rot="19567344">
            <a:off x="202624" y="4902700"/>
            <a:ext cx="1333697" cy="1804138"/>
          </a:xfrm>
          <a:custGeom>
            <a:avLst/>
            <a:gdLst>
              <a:gd name="connsiteX0" fmla="*/ 1847836 w 1847836"/>
              <a:gd name="connsiteY0" fmla="*/ 763739 h 1884363"/>
              <a:gd name="connsiteX1" fmla="*/ 1846248 w 1847836"/>
              <a:gd name="connsiteY1" fmla="*/ 782773 h 1884363"/>
              <a:gd name="connsiteX2" fmla="*/ 1845455 w 1847836"/>
              <a:gd name="connsiteY2" fmla="*/ 800221 h 1884363"/>
              <a:gd name="connsiteX3" fmla="*/ 1840692 w 1847836"/>
              <a:gd name="connsiteY3" fmla="*/ 818461 h 1884363"/>
              <a:gd name="connsiteX4" fmla="*/ 1835930 w 1847836"/>
              <a:gd name="connsiteY4" fmla="*/ 835116 h 1884363"/>
              <a:gd name="connsiteX5" fmla="*/ 1829580 w 1847836"/>
              <a:gd name="connsiteY5" fmla="*/ 850185 h 1884363"/>
              <a:gd name="connsiteX6" fmla="*/ 1822436 w 1847836"/>
              <a:gd name="connsiteY6" fmla="*/ 866046 h 1884363"/>
              <a:gd name="connsiteX7" fmla="*/ 1814498 w 1847836"/>
              <a:gd name="connsiteY7" fmla="*/ 880322 h 1884363"/>
              <a:gd name="connsiteX8" fmla="*/ 1804973 w 1847836"/>
              <a:gd name="connsiteY8" fmla="*/ 893011 h 1884363"/>
              <a:gd name="connsiteX9" fmla="*/ 1795104 w 1847836"/>
              <a:gd name="connsiteY9" fmla="*/ 904389 h 1884363"/>
              <a:gd name="connsiteX10" fmla="*/ 1792274 w 1847836"/>
              <a:gd name="connsiteY10" fmla="*/ 906814 h 1884363"/>
              <a:gd name="connsiteX11" fmla="*/ 1780368 w 1847836"/>
              <a:gd name="connsiteY11" fmla="*/ 916336 h 1884363"/>
              <a:gd name="connsiteX12" fmla="*/ 1767668 w 1847836"/>
              <a:gd name="connsiteY12" fmla="*/ 925064 h 1884363"/>
              <a:gd name="connsiteX13" fmla="*/ 1754174 w 1847836"/>
              <a:gd name="connsiteY13" fmla="*/ 930618 h 1884363"/>
              <a:gd name="connsiteX14" fmla="*/ 1739887 w 1847836"/>
              <a:gd name="connsiteY14" fmla="*/ 935379 h 1884363"/>
              <a:gd name="connsiteX15" fmla="*/ 1725599 w 1847836"/>
              <a:gd name="connsiteY15" fmla="*/ 937759 h 1884363"/>
              <a:gd name="connsiteX16" fmla="*/ 1710518 w 1847836"/>
              <a:gd name="connsiteY16" fmla="*/ 939346 h 1884363"/>
              <a:gd name="connsiteX17" fmla="*/ 1697024 w 1847836"/>
              <a:gd name="connsiteY17" fmla="*/ 937759 h 1884363"/>
              <a:gd name="connsiteX18" fmla="*/ 1685912 w 1847836"/>
              <a:gd name="connsiteY18" fmla="*/ 935379 h 1884363"/>
              <a:gd name="connsiteX19" fmla="*/ 1674799 w 1847836"/>
              <a:gd name="connsiteY19" fmla="*/ 932998 h 1884363"/>
              <a:gd name="connsiteX20" fmla="*/ 1664481 w 1847836"/>
              <a:gd name="connsiteY20" fmla="*/ 928238 h 1884363"/>
              <a:gd name="connsiteX21" fmla="*/ 1654956 w 1847836"/>
              <a:gd name="connsiteY21" fmla="*/ 923477 h 1884363"/>
              <a:gd name="connsiteX22" fmla="*/ 1646224 w 1847836"/>
              <a:gd name="connsiteY22" fmla="*/ 918716 h 1884363"/>
              <a:gd name="connsiteX23" fmla="*/ 1639081 w 1847836"/>
              <a:gd name="connsiteY23" fmla="*/ 913162 h 1884363"/>
              <a:gd name="connsiteX24" fmla="*/ 1631937 w 1847836"/>
              <a:gd name="connsiteY24" fmla="*/ 906814 h 1884363"/>
              <a:gd name="connsiteX25" fmla="*/ 1621618 w 1847836"/>
              <a:gd name="connsiteY25" fmla="*/ 894912 h 1884363"/>
              <a:gd name="connsiteX26" fmla="*/ 1614474 w 1847836"/>
              <a:gd name="connsiteY26" fmla="*/ 884597 h 1884363"/>
              <a:gd name="connsiteX27" fmla="*/ 1608124 w 1847836"/>
              <a:gd name="connsiteY27" fmla="*/ 875076 h 1884363"/>
              <a:gd name="connsiteX28" fmla="*/ 1603362 w 1847836"/>
              <a:gd name="connsiteY28" fmla="*/ 867141 h 1884363"/>
              <a:gd name="connsiteX29" fmla="*/ 1598599 w 1847836"/>
              <a:gd name="connsiteY29" fmla="*/ 860000 h 1884363"/>
              <a:gd name="connsiteX30" fmla="*/ 1593043 w 1847836"/>
              <a:gd name="connsiteY30" fmla="*/ 853652 h 1884363"/>
              <a:gd name="connsiteX31" fmla="*/ 1588281 w 1847836"/>
              <a:gd name="connsiteY31" fmla="*/ 848891 h 1884363"/>
              <a:gd name="connsiteX32" fmla="*/ 1581931 w 1847836"/>
              <a:gd name="connsiteY32" fmla="*/ 845717 h 1884363"/>
              <a:gd name="connsiteX33" fmla="*/ 1577168 w 1847836"/>
              <a:gd name="connsiteY33" fmla="*/ 843337 h 1884363"/>
              <a:gd name="connsiteX34" fmla="*/ 1571612 w 1847836"/>
              <a:gd name="connsiteY34" fmla="*/ 843337 h 1884363"/>
              <a:gd name="connsiteX35" fmla="*/ 1566849 w 1847836"/>
              <a:gd name="connsiteY35" fmla="*/ 843337 h 1884363"/>
              <a:gd name="connsiteX36" fmla="*/ 1562087 w 1847836"/>
              <a:gd name="connsiteY36" fmla="*/ 844130 h 1884363"/>
              <a:gd name="connsiteX37" fmla="*/ 1557324 w 1847836"/>
              <a:gd name="connsiteY37" fmla="*/ 846511 h 1884363"/>
              <a:gd name="connsiteX38" fmla="*/ 1554542 w 1847836"/>
              <a:gd name="connsiteY38" fmla="*/ 849987 h 1884363"/>
              <a:gd name="connsiteX39" fmla="*/ 1553355 w 1847836"/>
              <a:gd name="connsiteY39" fmla="*/ 850185 h 1884363"/>
              <a:gd name="connsiteX40" fmla="*/ 1548592 w 1847836"/>
              <a:gd name="connsiteY40" fmla="*/ 852564 h 1884363"/>
              <a:gd name="connsiteX41" fmla="*/ 1545417 w 1847836"/>
              <a:gd name="connsiteY41" fmla="*/ 856529 h 1884363"/>
              <a:gd name="connsiteX42" fmla="*/ 1541448 w 1847836"/>
              <a:gd name="connsiteY42" fmla="*/ 861288 h 1884363"/>
              <a:gd name="connsiteX43" fmla="*/ 1538273 w 1847836"/>
              <a:gd name="connsiteY43" fmla="*/ 866839 h 1884363"/>
              <a:gd name="connsiteX44" fmla="*/ 1535892 w 1847836"/>
              <a:gd name="connsiteY44" fmla="*/ 873977 h 1884363"/>
              <a:gd name="connsiteX45" fmla="*/ 1534305 w 1847836"/>
              <a:gd name="connsiteY45" fmla="*/ 882701 h 1884363"/>
              <a:gd name="connsiteX46" fmla="*/ 1534305 w 1847836"/>
              <a:gd name="connsiteY46" fmla="*/ 892218 h 1884363"/>
              <a:gd name="connsiteX47" fmla="*/ 1534305 w 1847836"/>
              <a:gd name="connsiteY47" fmla="*/ 1569510 h 1884363"/>
              <a:gd name="connsiteX48" fmla="*/ 896924 w 1847836"/>
              <a:gd name="connsiteY48" fmla="*/ 1569510 h 1884363"/>
              <a:gd name="connsiteX49" fmla="*/ 888986 w 1847836"/>
              <a:gd name="connsiteY49" fmla="*/ 1571096 h 1884363"/>
              <a:gd name="connsiteX50" fmla="*/ 881049 w 1847836"/>
              <a:gd name="connsiteY50" fmla="*/ 1571889 h 1884363"/>
              <a:gd name="connsiteX51" fmla="*/ 873905 w 1847836"/>
              <a:gd name="connsiteY51" fmla="*/ 1574268 h 1884363"/>
              <a:gd name="connsiteX52" fmla="*/ 867555 w 1847836"/>
              <a:gd name="connsiteY52" fmla="*/ 1576648 h 1884363"/>
              <a:gd name="connsiteX53" fmla="*/ 862792 w 1847836"/>
              <a:gd name="connsiteY53" fmla="*/ 1580613 h 1884363"/>
              <a:gd name="connsiteX54" fmla="*/ 859617 w 1847836"/>
              <a:gd name="connsiteY54" fmla="*/ 1585371 h 1884363"/>
              <a:gd name="connsiteX55" fmla="*/ 857236 w 1847836"/>
              <a:gd name="connsiteY55" fmla="*/ 1588544 h 1884363"/>
              <a:gd name="connsiteX56" fmla="*/ 855649 w 1847836"/>
              <a:gd name="connsiteY56" fmla="*/ 1593302 h 1884363"/>
              <a:gd name="connsiteX57" fmla="*/ 855649 w 1847836"/>
              <a:gd name="connsiteY57" fmla="*/ 1599647 h 1884363"/>
              <a:gd name="connsiteX58" fmla="*/ 855995 w 1847836"/>
              <a:gd name="connsiteY58" fmla="*/ 1600682 h 1884363"/>
              <a:gd name="connsiteX59" fmla="*/ 855649 w 1847836"/>
              <a:gd name="connsiteY59" fmla="*/ 1602235 h 1884363"/>
              <a:gd name="connsiteX60" fmla="*/ 858030 w 1847836"/>
              <a:gd name="connsiteY60" fmla="*/ 1610959 h 1884363"/>
              <a:gd name="connsiteX61" fmla="*/ 861999 w 1847836"/>
              <a:gd name="connsiteY61" fmla="*/ 1618890 h 1884363"/>
              <a:gd name="connsiteX62" fmla="*/ 867555 w 1847836"/>
              <a:gd name="connsiteY62" fmla="*/ 1626028 h 1884363"/>
              <a:gd name="connsiteX63" fmla="*/ 877080 w 1847836"/>
              <a:gd name="connsiteY63" fmla="*/ 1633165 h 1884363"/>
              <a:gd name="connsiteX64" fmla="*/ 888987 w 1847836"/>
              <a:gd name="connsiteY64" fmla="*/ 1640303 h 1884363"/>
              <a:gd name="connsiteX65" fmla="*/ 898512 w 1847836"/>
              <a:gd name="connsiteY65" fmla="*/ 1646648 h 1884363"/>
              <a:gd name="connsiteX66" fmla="*/ 908830 w 1847836"/>
              <a:gd name="connsiteY66" fmla="*/ 1653786 h 1884363"/>
              <a:gd name="connsiteX67" fmla="*/ 920737 w 1847836"/>
              <a:gd name="connsiteY67" fmla="*/ 1664096 h 1884363"/>
              <a:gd name="connsiteX68" fmla="*/ 927087 w 1847836"/>
              <a:gd name="connsiteY68" fmla="*/ 1671233 h 1884363"/>
              <a:gd name="connsiteX69" fmla="*/ 932643 w 1847836"/>
              <a:gd name="connsiteY69" fmla="*/ 1678371 h 1884363"/>
              <a:gd name="connsiteX70" fmla="*/ 937405 w 1847836"/>
              <a:gd name="connsiteY70" fmla="*/ 1686302 h 1884363"/>
              <a:gd name="connsiteX71" fmla="*/ 942168 w 1847836"/>
              <a:gd name="connsiteY71" fmla="*/ 1695819 h 1884363"/>
              <a:gd name="connsiteX72" fmla="*/ 946930 w 1847836"/>
              <a:gd name="connsiteY72" fmla="*/ 1706922 h 1884363"/>
              <a:gd name="connsiteX73" fmla="*/ 949312 w 1847836"/>
              <a:gd name="connsiteY73" fmla="*/ 1717232 h 1884363"/>
              <a:gd name="connsiteX74" fmla="*/ 951692 w 1847836"/>
              <a:gd name="connsiteY74" fmla="*/ 1729123 h 1884363"/>
              <a:gd name="connsiteX75" fmla="*/ 951692 w 1847836"/>
              <a:gd name="connsiteY75" fmla="*/ 1736850 h 1884363"/>
              <a:gd name="connsiteX76" fmla="*/ 950899 w 1847836"/>
              <a:gd name="connsiteY76" fmla="*/ 1752712 h 1884363"/>
              <a:gd name="connsiteX77" fmla="*/ 948517 w 1847836"/>
              <a:gd name="connsiteY77" fmla="*/ 1766987 h 1884363"/>
              <a:gd name="connsiteX78" fmla="*/ 943755 w 1847836"/>
              <a:gd name="connsiteY78" fmla="*/ 1781263 h 1884363"/>
              <a:gd name="connsiteX79" fmla="*/ 937405 w 1847836"/>
              <a:gd name="connsiteY79" fmla="*/ 1793952 h 1884363"/>
              <a:gd name="connsiteX80" fmla="*/ 930261 w 1847836"/>
              <a:gd name="connsiteY80" fmla="*/ 1806641 h 1884363"/>
              <a:gd name="connsiteX81" fmla="*/ 920736 w 1847836"/>
              <a:gd name="connsiteY81" fmla="*/ 1818537 h 1884363"/>
              <a:gd name="connsiteX82" fmla="*/ 910417 w 1847836"/>
              <a:gd name="connsiteY82" fmla="*/ 1830434 h 1884363"/>
              <a:gd name="connsiteX83" fmla="*/ 898511 w 1847836"/>
              <a:gd name="connsiteY83" fmla="*/ 1841537 h 1884363"/>
              <a:gd name="connsiteX84" fmla="*/ 885017 w 1847836"/>
              <a:gd name="connsiteY84" fmla="*/ 1849468 h 1884363"/>
              <a:gd name="connsiteX85" fmla="*/ 872317 w 1847836"/>
              <a:gd name="connsiteY85" fmla="*/ 1858985 h 1884363"/>
              <a:gd name="connsiteX86" fmla="*/ 857236 w 1847836"/>
              <a:gd name="connsiteY86" fmla="*/ 1866122 h 1884363"/>
              <a:gd name="connsiteX87" fmla="*/ 840567 w 1847836"/>
              <a:gd name="connsiteY87" fmla="*/ 1872467 h 1884363"/>
              <a:gd name="connsiteX88" fmla="*/ 823899 w 1847836"/>
              <a:gd name="connsiteY88" fmla="*/ 1877225 h 1884363"/>
              <a:gd name="connsiteX89" fmla="*/ 807230 w 1847836"/>
              <a:gd name="connsiteY89" fmla="*/ 1880398 h 1884363"/>
              <a:gd name="connsiteX90" fmla="*/ 788180 w 1847836"/>
              <a:gd name="connsiteY90" fmla="*/ 1882777 h 1884363"/>
              <a:gd name="connsiteX91" fmla="*/ 769924 w 1847836"/>
              <a:gd name="connsiteY91" fmla="*/ 1884363 h 1884363"/>
              <a:gd name="connsiteX92" fmla="*/ 751667 w 1847836"/>
              <a:gd name="connsiteY92" fmla="*/ 1882777 h 1884363"/>
              <a:gd name="connsiteX93" fmla="*/ 733411 w 1847836"/>
              <a:gd name="connsiteY93" fmla="*/ 1880398 h 1884363"/>
              <a:gd name="connsiteX94" fmla="*/ 715949 w 1847836"/>
              <a:gd name="connsiteY94" fmla="*/ 1877225 h 1884363"/>
              <a:gd name="connsiteX95" fmla="*/ 699280 w 1847836"/>
              <a:gd name="connsiteY95" fmla="*/ 1872467 h 1884363"/>
              <a:gd name="connsiteX96" fmla="*/ 683405 w 1847836"/>
              <a:gd name="connsiteY96" fmla="*/ 1866122 h 1884363"/>
              <a:gd name="connsiteX97" fmla="*/ 668324 w 1847836"/>
              <a:gd name="connsiteY97" fmla="*/ 1858985 h 1884363"/>
              <a:gd name="connsiteX98" fmla="*/ 654036 w 1847836"/>
              <a:gd name="connsiteY98" fmla="*/ 1849468 h 1884363"/>
              <a:gd name="connsiteX99" fmla="*/ 641336 w 1847836"/>
              <a:gd name="connsiteY99" fmla="*/ 1841537 h 1884363"/>
              <a:gd name="connsiteX100" fmla="*/ 629430 w 1847836"/>
              <a:gd name="connsiteY100" fmla="*/ 1830434 h 1884363"/>
              <a:gd name="connsiteX101" fmla="*/ 619905 w 1847836"/>
              <a:gd name="connsiteY101" fmla="*/ 1818537 h 1884363"/>
              <a:gd name="connsiteX102" fmla="*/ 610380 w 1847836"/>
              <a:gd name="connsiteY102" fmla="*/ 1806641 h 1884363"/>
              <a:gd name="connsiteX103" fmla="*/ 601649 w 1847836"/>
              <a:gd name="connsiteY103" fmla="*/ 1793952 h 1884363"/>
              <a:gd name="connsiteX104" fmla="*/ 596092 w 1847836"/>
              <a:gd name="connsiteY104" fmla="*/ 1781263 h 1884363"/>
              <a:gd name="connsiteX105" fmla="*/ 591330 w 1847836"/>
              <a:gd name="connsiteY105" fmla="*/ 1766987 h 1884363"/>
              <a:gd name="connsiteX106" fmla="*/ 588949 w 1847836"/>
              <a:gd name="connsiteY106" fmla="*/ 1752712 h 1884363"/>
              <a:gd name="connsiteX107" fmla="*/ 588949 w 1847836"/>
              <a:gd name="connsiteY107" fmla="*/ 1742611 h 1884363"/>
              <a:gd name="connsiteX108" fmla="*/ 588949 w 1847836"/>
              <a:gd name="connsiteY108" fmla="*/ 1729128 h 1884363"/>
              <a:gd name="connsiteX109" fmla="*/ 591330 w 1847836"/>
              <a:gd name="connsiteY109" fmla="*/ 1717232 h 1884363"/>
              <a:gd name="connsiteX110" fmla="*/ 594505 w 1847836"/>
              <a:gd name="connsiteY110" fmla="*/ 1706922 h 1884363"/>
              <a:gd name="connsiteX111" fmla="*/ 598474 w 1847836"/>
              <a:gd name="connsiteY111" fmla="*/ 1695819 h 1884363"/>
              <a:gd name="connsiteX112" fmla="*/ 603236 w 1847836"/>
              <a:gd name="connsiteY112" fmla="*/ 1686302 h 1884363"/>
              <a:gd name="connsiteX113" fmla="*/ 608793 w 1847836"/>
              <a:gd name="connsiteY113" fmla="*/ 1678371 h 1884363"/>
              <a:gd name="connsiteX114" fmla="*/ 613555 w 1847836"/>
              <a:gd name="connsiteY114" fmla="*/ 1671233 h 1884363"/>
              <a:gd name="connsiteX115" fmla="*/ 619905 w 1847836"/>
              <a:gd name="connsiteY115" fmla="*/ 1664096 h 1884363"/>
              <a:gd name="connsiteX116" fmla="*/ 631811 w 1847836"/>
              <a:gd name="connsiteY116" fmla="*/ 1653786 h 1884363"/>
              <a:gd name="connsiteX117" fmla="*/ 642130 w 1847836"/>
              <a:gd name="connsiteY117" fmla="*/ 1646648 h 1884363"/>
              <a:gd name="connsiteX118" fmla="*/ 651655 w 1847836"/>
              <a:gd name="connsiteY118" fmla="*/ 1640303 h 1884363"/>
              <a:gd name="connsiteX119" fmla="*/ 663561 w 1847836"/>
              <a:gd name="connsiteY119" fmla="*/ 1633165 h 1884363"/>
              <a:gd name="connsiteX120" fmla="*/ 673087 w 1847836"/>
              <a:gd name="connsiteY120" fmla="*/ 1626028 h 1884363"/>
              <a:gd name="connsiteX121" fmla="*/ 678643 w 1847836"/>
              <a:gd name="connsiteY121" fmla="*/ 1618890 h 1884363"/>
              <a:gd name="connsiteX122" fmla="*/ 683405 w 1847836"/>
              <a:gd name="connsiteY122" fmla="*/ 1610959 h 1884363"/>
              <a:gd name="connsiteX123" fmla="*/ 684993 w 1847836"/>
              <a:gd name="connsiteY123" fmla="*/ 1602235 h 1884363"/>
              <a:gd name="connsiteX124" fmla="*/ 683405 w 1847836"/>
              <a:gd name="connsiteY124" fmla="*/ 1595097 h 1884363"/>
              <a:gd name="connsiteX125" fmla="*/ 683405 w 1847836"/>
              <a:gd name="connsiteY125" fmla="*/ 1593302 h 1884363"/>
              <a:gd name="connsiteX126" fmla="*/ 682611 w 1847836"/>
              <a:gd name="connsiteY126" fmla="*/ 1588544 h 1884363"/>
              <a:gd name="connsiteX127" fmla="*/ 680230 w 1847836"/>
              <a:gd name="connsiteY127" fmla="*/ 1585371 h 1884363"/>
              <a:gd name="connsiteX128" fmla="*/ 676261 w 1847836"/>
              <a:gd name="connsiteY128" fmla="*/ 1580613 h 1884363"/>
              <a:gd name="connsiteX129" fmla="*/ 671499 w 1847836"/>
              <a:gd name="connsiteY129" fmla="*/ 1576648 h 1884363"/>
              <a:gd name="connsiteX130" fmla="*/ 666736 w 1847836"/>
              <a:gd name="connsiteY130" fmla="*/ 1574268 h 1884363"/>
              <a:gd name="connsiteX131" fmla="*/ 659592 w 1847836"/>
              <a:gd name="connsiteY131" fmla="*/ 1571889 h 1884363"/>
              <a:gd name="connsiteX132" fmla="*/ 651655 w 1847836"/>
              <a:gd name="connsiteY132" fmla="*/ 1571096 h 1884363"/>
              <a:gd name="connsiteX133" fmla="*/ 642130 w 1847836"/>
              <a:gd name="connsiteY133" fmla="*/ 1569510 h 1884363"/>
              <a:gd name="connsiteX134" fmla="*/ 0 w 1847836"/>
              <a:gd name="connsiteY134" fmla="*/ 1569510 h 1884363"/>
              <a:gd name="connsiteX135" fmla="*/ 0 w 1847836"/>
              <a:gd name="connsiteY135" fmla="*/ 0 h 1884363"/>
              <a:gd name="connsiteX136" fmla="*/ 673880 w 1847836"/>
              <a:gd name="connsiteY136" fmla="*/ 0 h 1884363"/>
              <a:gd name="connsiteX137" fmla="*/ 680230 w 1847836"/>
              <a:gd name="connsiteY137" fmla="*/ 6345 h 1884363"/>
              <a:gd name="connsiteX138" fmla="*/ 683405 w 1847836"/>
              <a:gd name="connsiteY138" fmla="*/ 11896 h 1884363"/>
              <a:gd name="connsiteX139" fmla="*/ 684281 w 1847836"/>
              <a:gd name="connsiteY139" fmla="*/ 15837 h 1884363"/>
              <a:gd name="connsiteX140" fmla="*/ 684134 w 1847836"/>
              <a:gd name="connsiteY140" fmla="*/ 16278 h 1884363"/>
              <a:gd name="connsiteX141" fmla="*/ 681750 w 1847836"/>
              <a:gd name="connsiteY141" fmla="*/ 21836 h 1884363"/>
              <a:gd name="connsiteX142" fmla="*/ 678572 w 1847836"/>
              <a:gd name="connsiteY142" fmla="*/ 26601 h 1884363"/>
              <a:gd name="connsiteX143" fmla="*/ 673805 w 1847836"/>
              <a:gd name="connsiteY143" fmla="*/ 32953 h 1884363"/>
              <a:gd name="connsiteX144" fmla="*/ 667448 w 1847836"/>
              <a:gd name="connsiteY144" fmla="*/ 37718 h 1884363"/>
              <a:gd name="connsiteX145" fmla="*/ 660297 w 1847836"/>
              <a:gd name="connsiteY145" fmla="*/ 42482 h 1884363"/>
              <a:gd name="connsiteX146" fmla="*/ 652352 w 1847836"/>
              <a:gd name="connsiteY146" fmla="*/ 47247 h 1884363"/>
              <a:gd name="connsiteX147" fmla="*/ 642817 w 1847836"/>
              <a:gd name="connsiteY147" fmla="*/ 52805 h 1884363"/>
              <a:gd name="connsiteX148" fmla="*/ 632488 w 1847836"/>
              <a:gd name="connsiteY148" fmla="*/ 59952 h 1884363"/>
              <a:gd name="connsiteX149" fmla="*/ 620570 w 1847836"/>
              <a:gd name="connsiteY149" fmla="*/ 71069 h 1884363"/>
              <a:gd name="connsiteX150" fmla="*/ 614213 w 1847836"/>
              <a:gd name="connsiteY150" fmla="*/ 78216 h 1884363"/>
              <a:gd name="connsiteX151" fmla="*/ 609446 w 1847836"/>
              <a:gd name="connsiteY151" fmla="*/ 85363 h 1884363"/>
              <a:gd name="connsiteX152" fmla="*/ 603884 w 1847836"/>
              <a:gd name="connsiteY152" fmla="*/ 93304 h 1884363"/>
              <a:gd name="connsiteX153" fmla="*/ 599117 w 1847836"/>
              <a:gd name="connsiteY153" fmla="*/ 102833 h 1884363"/>
              <a:gd name="connsiteX154" fmla="*/ 595144 w 1847836"/>
              <a:gd name="connsiteY154" fmla="*/ 113156 h 1884363"/>
              <a:gd name="connsiteX155" fmla="*/ 591966 w 1847836"/>
              <a:gd name="connsiteY155" fmla="*/ 124273 h 1884363"/>
              <a:gd name="connsiteX156" fmla="*/ 589582 w 1847836"/>
              <a:gd name="connsiteY156" fmla="*/ 136184 h 1884363"/>
              <a:gd name="connsiteX157" fmla="*/ 589582 w 1847836"/>
              <a:gd name="connsiteY157" fmla="*/ 142765 h 1884363"/>
              <a:gd name="connsiteX158" fmla="*/ 588949 w 1847836"/>
              <a:gd name="connsiteY158" fmla="*/ 145927 h 1884363"/>
              <a:gd name="connsiteX159" fmla="*/ 588949 w 1847836"/>
              <a:gd name="connsiteY159" fmla="*/ 159410 h 1884363"/>
              <a:gd name="connsiteX160" fmla="*/ 588949 w 1847836"/>
              <a:gd name="connsiteY160" fmla="*/ 174478 h 1884363"/>
              <a:gd name="connsiteX161" fmla="*/ 592124 w 1847836"/>
              <a:gd name="connsiteY161" fmla="*/ 188754 h 1884363"/>
              <a:gd name="connsiteX162" fmla="*/ 596092 w 1847836"/>
              <a:gd name="connsiteY162" fmla="*/ 203029 h 1884363"/>
              <a:gd name="connsiteX163" fmla="*/ 603236 w 1847836"/>
              <a:gd name="connsiteY163" fmla="*/ 215718 h 1884363"/>
              <a:gd name="connsiteX164" fmla="*/ 610380 w 1847836"/>
              <a:gd name="connsiteY164" fmla="*/ 229201 h 1884363"/>
              <a:gd name="connsiteX165" fmla="*/ 619905 w 1847836"/>
              <a:gd name="connsiteY165" fmla="*/ 241097 h 1884363"/>
              <a:gd name="connsiteX166" fmla="*/ 630224 w 1847836"/>
              <a:gd name="connsiteY166" fmla="*/ 252993 h 1884363"/>
              <a:gd name="connsiteX167" fmla="*/ 642130 w 1847836"/>
              <a:gd name="connsiteY167" fmla="*/ 262510 h 1884363"/>
              <a:gd name="connsiteX168" fmla="*/ 654036 w 1847836"/>
              <a:gd name="connsiteY168" fmla="*/ 272027 h 1884363"/>
              <a:gd name="connsiteX169" fmla="*/ 668324 w 1847836"/>
              <a:gd name="connsiteY169" fmla="*/ 279958 h 1884363"/>
              <a:gd name="connsiteX170" fmla="*/ 683405 w 1847836"/>
              <a:gd name="connsiteY170" fmla="*/ 288682 h 1884363"/>
              <a:gd name="connsiteX171" fmla="*/ 699280 w 1847836"/>
              <a:gd name="connsiteY171" fmla="*/ 294233 h 1884363"/>
              <a:gd name="connsiteX172" fmla="*/ 715949 w 1847836"/>
              <a:gd name="connsiteY172" fmla="*/ 298992 h 1884363"/>
              <a:gd name="connsiteX173" fmla="*/ 733411 w 1847836"/>
              <a:gd name="connsiteY173" fmla="*/ 302957 h 1884363"/>
              <a:gd name="connsiteX174" fmla="*/ 751667 w 1847836"/>
              <a:gd name="connsiteY174" fmla="*/ 305337 h 1884363"/>
              <a:gd name="connsiteX175" fmla="*/ 769924 w 1847836"/>
              <a:gd name="connsiteY175" fmla="*/ 306130 h 1884363"/>
              <a:gd name="connsiteX176" fmla="*/ 788974 w 1847836"/>
              <a:gd name="connsiteY176" fmla="*/ 305337 h 1884363"/>
              <a:gd name="connsiteX177" fmla="*/ 807230 w 1847836"/>
              <a:gd name="connsiteY177" fmla="*/ 302957 h 1884363"/>
              <a:gd name="connsiteX178" fmla="*/ 824692 w 1847836"/>
              <a:gd name="connsiteY178" fmla="*/ 298992 h 1884363"/>
              <a:gd name="connsiteX179" fmla="*/ 841361 w 1847836"/>
              <a:gd name="connsiteY179" fmla="*/ 294233 h 1884363"/>
              <a:gd name="connsiteX180" fmla="*/ 857236 w 1847836"/>
              <a:gd name="connsiteY180" fmla="*/ 288682 h 1884363"/>
              <a:gd name="connsiteX181" fmla="*/ 872317 w 1847836"/>
              <a:gd name="connsiteY181" fmla="*/ 279958 h 1884363"/>
              <a:gd name="connsiteX182" fmla="*/ 886605 w 1847836"/>
              <a:gd name="connsiteY182" fmla="*/ 272027 h 1884363"/>
              <a:gd name="connsiteX183" fmla="*/ 899305 w 1847836"/>
              <a:gd name="connsiteY183" fmla="*/ 262510 h 1884363"/>
              <a:gd name="connsiteX184" fmla="*/ 910417 w 1847836"/>
              <a:gd name="connsiteY184" fmla="*/ 252993 h 1884363"/>
              <a:gd name="connsiteX185" fmla="*/ 920736 w 1847836"/>
              <a:gd name="connsiteY185" fmla="*/ 241097 h 1884363"/>
              <a:gd name="connsiteX186" fmla="*/ 930261 w 1847836"/>
              <a:gd name="connsiteY186" fmla="*/ 229201 h 1884363"/>
              <a:gd name="connsiteX187" fmla="*/ 937405 w 1847836"/>
              <a:gd name="connsiteY187" fmla="*/ 215718 h 1884363"/>
              <a:gd name="connsiteX188" fmla="*/ 944549 w 1847836"/>
              <a:gd name="connsiteY188" fmla="*/ 203029 h 1884363"/>
              <a:gd name="connsiteX189" fmla="*/ 948517 w 1847836"/>
              <a:gd name="connsiteY189" fmla="*/ 188754 h 1884363"/>
              <a:gd name="connsiteX190" fmla="*/ 951692 w 1847836"/>
              <a:gd name="connsiteY190" fmla="*/ 174478 h 1884363"/>
              <a:gd name="connsiteX191" fmla="*/ 953280 w 1847836"/>
              <a:gd name="connsiteY191" fmla="*/ 159410 h 1884363"/>
              <a:gd name="connsiteX192" fmla="*/ 953253 w 1847836"/>
              <a:gd name="connsiteY192" fmla="*/ 159178 h 1884363"/>
              <a:gd name="connsiteX193" fmla="*/ 954282 w 1847836"/>
              <a:gd name="connsiteY193" fmla="*/ 148890 h 1884363"/>
              <a:gd name="connsiteX194" fmla="*/ 952693 w 1847836"/>
              <a:gd name="connsiteY194" fmla="*/ 136184 h 1884363"/>
              <a:gd name="connsiteX195" fmla="*/ 950309 w 1847836"/>
              <a:gd name="connsiteY195" fmla="*/ 124273 h 1884363"/>
              <a:gd name="connsiteX196" fmla="*/ 947926 w 1847836"/>
              <a:gd name="connsiteY196" fmla="*/ 113156 h 1884363"/>
              <a:gd name="connsiteX197" fmla="*/ 943158 w 1847836"/>
              <a:gd name="connsiteY197" fmla="*/ 102833 h 1884363"/>
              <a:gd name="connsiteX198" fmla="*/ 938391 w 1847836"/>
              <a:gd name="connsiteY198" fmla="*/ 93304 h 1884363"/>
              <a:gd name="connsiteX199" fmla="*/ 933624 w 1847836"/>
              <a:gd name="connsiteY199" fmla="*/ 85363 h 1884363"/>
              <a:gd name="connsiteX200" fmla="*/ 928062 w 1847836"/>
              <a:gd name="connsiteY200" fmla="*/ 78216 h 1884363"/>
              <a:gd name="connsiteX201" fmla="*/ 921705 w 1847836"/>
              <a:gd name="connsiteY201" fmla="*/ 71069 h 1884363"/>
              <a:gd name="connsiteX202" fmla="*/ 909787 w 1847836"/>
              <a:gd name="connsiteY202" fmla="*/ 59952 h 1884363"/>
              <a:gd name="connsiteX203" fmla="*/ 899458 w 1847836"/>
              <a:gd name="connsiteY203" fmla="*/ 52805 h 1884363"/>
              <a:gd name="connsiteX204" fmla="*/ 889923 w 1847836"/>
              <a:gd name="connsiteY204" fmla="*/ 47247 h 1884363"/>
              <a:gd name="connsiteX205" fmla="*/ 881978 w 1847836"/>
              <a:gd name="connsiteY205" fmla="*/ 42482 h 1884363"/>
              <a:gd name="connsiteX206" fmla="*/ 874827 w 1847836"/>
              <a:gd name="connsiteY206" fmla="*/ 37718 h 1884363"/>
              <a:gd name="connsiteX207" fmla="*/ 868470 w 1847836"/>
              <a:gd name="connsiteY207" fmla="*/ 32953 h 1884363"/>
              <a:gd name="connsiteX208" fmla="*/ 863703 w 1847836"/>
              <a:gd name="connsiteY208" fmla="*/ 26601 h 1884363"/>
              <a:gd name="connsiteX209" fmla="*/ 860525 w 1847836"/>
              <a:gd name="connsiteY209" fmla="*/ 21836 h 1884363"/>
              <a:gd name="connsiteX210" fmla="*/ 858141 w 1847836"/>
              <a:gd name="connsiteY210" fmla="*/ 16278 h 1884363"/>
              <a:gd name="connsiteX211" fmla="*/ 857014 w 1847836"/>
              <a:gd name="connsiteY211" fmla="*/ 12897 h 1884363"/>
              <a:gd name="connsiteX212" fmla="*/ 857236 w 1847836"/>
              <a:gd name="connsiteY212" fmla="*/ 11896 h 1884363"/>
              <a:gd name="connsiteX213" fmla="*/ 860411 w 1847836"/>
              <a:gd name="connsiteY213" fmla="*/ 6345 h 1884363"/>
              <a:gd name="connsiteX214" fmla="*/ 866761 w 1847836"/>
              <a:gd name="connsiteY214" fmla="*/ 0 h 1884363"/>
              <a:gd name="connsiteX215" fmla="*/ 1534305 w 1847836"/>
              <a:gd name="connsiteY215" fmla="*/ 0 h 1884363"/>
              <a:gd name="connsiteX216" fmla="*/ 1534305 w 1847836"/>
              <a:gd name="connsiteY216" fmla="*/ 636053 h 1884363"/>
              <a:gd name="connsiteX217" fmla="*/ 1534305 w 1847836"/>
              <a:gd name="connsiteY217" fmla="*/ 645570 h 1884363"/>
              <a:gd name="connsiteX218" fmla="*/ 1535892 w 1847836"/>
              <a:gd name="connsiteY218" fmla="*/ 653500 h 1884363"/>
              <a:gd name="connsiteX219" fmla="*/ 1538273 w 1847836"/>
              <a:gd name="connsiteY219" fmla="*/ 660638 h 1884363"/>
              <a:gd name="connsiteX220" fmla="*/ 1541448 w 1847836"/>
              <a:gd name="connsiteY220" fmla="*/ 666190 h 1884363"/>
              <a:gd name="connsiteX221" fmla="*/ 1545417 w 1847836"/>
              <a:gd name="connsiteY221" fmla="*/ 670948 h 1884363"/>
              <a:gd name="connsiteX222" fmla="*/ 1548592 w 1847836"/>
              <a:gd name="connsiteY222" fmla="*/ 674914 h 1884363"/>
              <a:gd name="connsiteX223" fmla="*/ 1553355 w 1847836"/>
              <a:gd name="connsiteY223" fmla="*/ 677293 h 1884363"/>
              <a:gd name="connsiteX224" fmla="*/ 1558117 w 1847836"/>
              <a:gd name="connsiteY224" fmla="*/ 678086 h 1884363"/>
              <a:gd name="connsiteX225" fmla="*/ 1562880 w 1847836"/>
              <a:gd name="connsiteY225" fmla="*/ 678086 h 1884363"/>
              <a:gd name="connsiteX226" fmla="*/ 1569230 w 1847836"/>
              <a:gd name="connsiteY226" fmla="*/ 677293 h 1884363"/>
              <a:gd name="connsiteX227" fmla="*/ 1573992 w 1847836"/>
              <a:gd name="connsiteY227" fmla="*/ 674914 h 1884363"/>
              <a:gd name="connsiteX228" fmla="*/ 1579548 w 1847836"/>
              <a:gd name="connsiteY228" fmla="*/ 670948 h 1884363"/>
              <a:gd name="connsiteX229" fmla="*/ 1584311 w 1847836"/>
              <a:gd name="connsiteY229" fmla="*/ 666190 h 1884363"/>
              <a:gd name="connsiteX230" fmla="*/ 1584599 w 1847836"/>
              <a:gd name="connsiteY230" fmla="*/ 665854 h 1884363"/>
              <a:gd name="connsiteX231" fmla="*/ 1588281 w 1847836"/>
              <a:gd name="connsiteY231" fmla="*/ 664014 h 1884363"/>
              <a:gd name="connsiteX232" fmla="*/ 1593043 w 1847836"/>
              <a:gd name="connsiteY232" fmla="*/ 659253 h 1884363"/>
              <a:gd name="connsiteX233" fmla="*/ 1598599 w 1847836"/>
              <a:gd name="connsiteY233" fmla="*/ 653699 h 1884363"/>
              <a:gd name="connsiteX234" fmla="*/ 1603362 w 1847836"/>
              <a:gd name="connsiteY234" fmla="*/ 646558 h 1884363"/>
              <a:gd name="connsiteX235" fmla="*/ 1608124 w 1847836"/>
              <a:gd name="connsiteY235" fmla="*/ 639417 h 1884363"/>
              <a:gd name="connsiteX236" fmla="*/ 1614474 w 1847836"/>
              <a:gd name="connsiteY236" fmla="*/ 628308 h 1884363"/>
              <a:gd name="connsiteX237" fmla="*/ 1621618 w 1847836"/>
              <a:gd name="connsiteY237" fmla="*/ 618787 h 1884363"/>
              <a:gd name="connsiteX238" fmla="*/ 1631937 w 1847836"/>
              <a:gd name="connsiteY238" fmla="*/ 606885 h 1884363"/>
              <a:gd name="connsiteX239" fmla="*/ 1636499 w 1847836"/>
              <a:gd name="connsiteY239" fmla="*/ 603338 h 1884363"/>
              <a:gd name="connsiteX240" fmla="*/ 1637492 w 1847836"/>
              <a:gd name="connsiteY240" fmla="*/ 602743 h 1884363"/>
              <a:gd name="connsiteX241" fmla="*/ 1646223 w 1847836"/>
              <a:gd name="connsiteY241" fmla="*/ 596399 h 1884363"/>
              <a:gd name="connsiteX242" fmla="*/ 1655748 w 1847836"/>
              <a:gd name="connsiteY242" fmla="*/ 591640 h 1884363"/>
              <a:gd name="connsiteX243" fmla="*/ 1665273 w 1847836"/>
              <a:gd name="connsiteY243" fmla="*/ 588468 h 1884363"/>
              <a:gd name="connsiteX244" fmla="*/ 1677180 w 1847836"/>
              <a:gd name="connsiteY244" fmla="*/ 584502 h 1884363"/>
              <a:gd name="connsiteX245" fmla="*/ 1689086 w 1847836"/>
              <a:gd name="connsiteY245" fmla="*/ 582123 h 1884363"/>
              <a:gd name="connsiteX246" fmla="*/ 1701786 w 1847836"/>
              <a:gd name="connsiteY246" fmla="*/ 582123 h 1884363"/>
              <a:gd name="connsiteX247" fmla="*/ 1716073 w 1847836"/>
              <a:gd name="connsiteY247" fmla="*/ 582123 h 1884363"/>
              <a:gd name="connsiteX248" fmla="*/ 1731155 w 1847836"/>
              <a:gd name="connsiteY248" fmla="*/ 586088 h 1884363"/>
              <a:gd name="connsiteX249" fmla="*/ 1744648 w 1847836"/>
              <a:gd name="connsiteY249" fmla="*/ 590847 h 1884363"/>
              <a:gd name="connsiteX250" fmla="*/ 1758936 w 1847836"/>
              <a:gd name="connsiteY250" fmla="*/ 596399 h 1884363"/>
              <a:gd name="connsiteX251" fmla="*/ 1770842 w 1847836"/>
              <a:gd name="connsiteY251" fmla="*/ 603536 h 1884363"/>
              <a:gd name="connsiteX252" fmla="*/ 1783542 w 1847836"/>
              <a:gd name="connsiteY252" fmla="*/ 613053 h 1884363"/>
              <a:gd name="connsiteX253" fmla="*/ 1794655 w 1847836"/>
              <a:gd name="connsiteY253" fmla="*/ 624156 h 1884363"/>
              <a:gd name="connsiteX254" fmla="*/ 1804973 w 1847836"/>
              <a:gd name="connsiteY254" fmla="*/ 636053 h 1884363"/>
              <a:gd name="connsiteX255" fmla="*/ 1814498 w 1847836"/>
              <a:gd name="connsiteY255" fmla="*/ 647949 h 1884363"/>
              <a:gd name="connsiteX256" fmla="*/ 1822436 w 1847836"/>
              <a:gd name="connsiteY256" fmla="*/ 662224 h 1884363"/>
              <a:gd name="connsiteX257" fmla="*/ 1829580 w 1847836"/>
              <a:gd name="connsiteY257" fmla="*/ 677293 h 1884363"/>
              <a:gd name="connsiteX258" fmla="*/ 1835930 w 1847836"/>
              <a:gd name="connsiteY258" fmla="*/ 692361 h 1884363"/>
              <a:gd name="connsiteX259" fmla="*/ 1840692 w 1847836"/>
              <a:gd name="connsiteY259" fmla="*/ 709016 h 1884363"/>
              <a:gd name="connsiteX260" fmla="*/ 1845455 w 1847836"/>
              <a:gd name="connsiteY260" fmla="*/ 727257 h 1884363"/>
              <a:gd name="connsiteX261" fmla="*/ 1846248 w 1847836"/>
              <a:gd name="connsiteY261" fmla="*/ 744705 h 1884363"/>
              <a:gd name="connsiteX262" fmla="*/ 1847836 w 1847836"/>
              <a:gd name="connsiteY262" fmla="*/ 763739 h 188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Lst>
            <a:rect l="l" t="t" r="r" b="b"/>
            <a:pathLst>
              <a:path w="1847836" h="1884363">
                <a:moveTo>
                  <a:pt x="1847836" y="763739"/>
                </a:moveTo>
                <a:lnTo>
                  <a:pt x="1846248" y="782773"/>
                </a:lnTo>
                <a:lnTo>
                  <a:pt x="1845455" y="800221"/>
                </a:lnTo>
                <a:lnTo>
                  <a:pt x="1840692" y="818461"/>
                </a:lnTo>
                <a:lnTo>
                  <a:pt x="1835930" y="835116"/>
                </a:lnTo>
                <a:lnTo>
                  <a:pt x="1829580" y="850185"/>
                </a:lnTo>
                <a:lnTo>
                  <a:pt x="1822436" y="866046"/>
                </a:lnTo>
                <a:lnTo>
                  <a:pt x="1814498" y="880322"/>
                </a:lnTo>
                <a:lnTo>
                  <a:pt x="1804973" y="893011"/>
                </a:lnTo>
                <a:lnTo>
                  <a:pt x="1795104" y="904389"/>
                </a:lnTo>
                <a:lnTo>
                  <a:pt x="1792274" y="906814"/>
                </a:lnTo>
                <a:lnTo>
                  <a:pt x="1780368" y="916336"/>
                </a:lnTo>
                <a:lnTo>
                  <a:pt x="1767668" y="925064"/>
                </a:lnTo>
                <a:lnTo>
                  <a:pt x="1754174" y="930618"/>
                </a:lnTo>
                <a:lnTo>
                  <a:pt x="1739887" y="935379"/>
                </a:lnTo>
                <a:lnTo>
                  <a:pt x="1725599" y="937759"/>
                </a:lnTo>
                <a:lnTo>
                  <a:pt x="1710518" y="939346"/>
                </a:lnTo>
                <a:lnTo>
                  <a:pt x="1697024" y="937759"/>
                </a:lnTo>
                <a:lnTo>
                  <a:pt x="1685912" y="935379"/>
                </a:lnTo>
                <a:lnTo>
                  <a:pt x="1674799" y="932998"/>
                </a:lnTo>
                <a:lnTo>
                  <a:pt x="1664481" y="928238"/>
                </a:lnTo>
                <a:lnTo>
                  <a:pt x="1654956" y="923477"/>
                </a:lnTo>
                <a:lnTo>
                  <a:pt x="1646224" y="918716"/>
                </a:lnTo>
                <a:lnTo>
                  <a:pt x="1639081" y="913162"/>
                </a:lnTo>
                <a:lnTo>
                  <a:pt x="1631937" y="906814"/>
                </a:lnTo>
                <a:lnTo>
                  <a:pt x="1621618" y="894912"/>
                </a:lnTo>
                <a:lnTo>
                  <a:pt x="1614474" y="884597"/>
                </a:lnTo>
                <a:lnTo>
                  <a:pt x="1608124" y="875076"/>
                </a:lnTo>
                <a:lnTo>
                  <a:pt x="1603362" y="867141"/>
                </a:lnTo>
                <a:lnTo>
                  <a:pt x="1598599" y="860000"/>
                </a:lnTo>
                <a:lnTo>
                  <a:pt x="1593043" y="853652"/>
                </a:lnTo>
                <a:lnTo>
                  <a:pt x="1588281" y="848891"/>
                </a:lnTo>
                <a:lnTo>
                  <a:pt x="1581931" y="845717"/>
                </a:lnTo>
                <a:lnTo>
                  <a:pt x="1577168" y="843337"/>
                </a:lnTo>
                <a:lnTo>
                  <a:pt x="1571612" y="843337"/>
                </a:lnTo>
                <a:lnTo>
                  <a:pt x="1566849" y="843337"/>
                </a:lnTo>
                <a:lnTo>
                  <a:pt x="1562087" y="844130"/>
                </a:lnTo>
                <a:lnTo>
                  <a:pt x="1557324" y="846511"/>
                </a:lnTo>
                <a:lnTo>
                  <a:pt x="1554542" y="849987"/>
                </a:lnTo>
                <a:lnTo>
                  <a:pt x="1553355" y="850185"/>
                </a:lnTo>
                <a:lnTo>
                  <a:pt x="1548592" y="852564"/>
                </a:lnTo>
                <a:lnTo>
                  <a:pt x="1545417" y="856529"/>
                </a:lnTo>
                <a:lnTo>
                  <a:pt x="1541448" y="861288"/>
                </a:lnTo>
                <a:lnTo>
                  <a:pt x="1538273" y="866839"/>
                </a:lnTo>
                <a:lnTo>
                  <a:pt x="1535892" y="873977"/>
                </a:lnTo>
                <a:lnTo>
                  <a:pt x="1534305" y="882701"/>
                </a:lnTo>
                <a:lnTo>
                  <a:pt x="1534305" y="892218"/>
                </a:lnTo>
                <a:lnTo>
                  <a:pt x="1534305" y="1569510"/>
                </a:lnTo>
                <a:lnTo>
                  <a:pt x="896924" y="1569510"/>
                </a:lnTo>
                <a:lnTo>
                  <a:pt x="888986" y="1571096"/>
                </a:lnTo>
                <a:lnTo>
                  <a:pt x="881049" y="1571889"/>
                </a:lnTo>
                <a:lnTo>
                  <a:pt x="873905" y="1574268"/>
                </a:lnTo>
                <a:lnTo>
                  <a:pt x="867555" y="1576648"/>
                </a:lnTo>
                <a:lnTo>
                  <a:pt x="862792" y="1580613"/>
                </a:lnTo>
                <a:lnTo>
                  <a:pt x="859617" y="1585371"/>
                </a:lnTo>
                <a:lnTo>
                  <a:pt x="857236" y="1588544"/>
                </a:lnTo>
                <a:lnTo>
                  <a:pt x="855649" y="1593302"/>
                </a:lnTo>
                <a:lnTo>
                  <a:pt x="855649" y="1599647"/>
                </a:lnTo>
                <a:lnTo>
                  <a:pt x="855995" y="1600682"/>
                </a:lnTo>
                <a:lnTo>
                  <a:pt x="855649" y="1602235"/>
                </a:lnTo>
                <a:lnTo>
                  <a:pt x="858030" y="1610959"/>
                </a:lnTo>
                <a:lnTo>
                  <a:pt x="861999" y="1618890"/>
                </a:lnTo>
                <a:lnTo>
                  <a:pt x="867555" y="1626028"/>
                </a:lnTo>
                <a:lnTo>
                  <a:pt x="877080" y="1633165"/>
                </a:lnTo>
                <a:lnTo>
                  <a:pt x="888987" y="1640303"/>
                </a:lnTo>
                <a:lnTo>
                  <a:pt x="898512" y="1646648"/>
                </a:lnTo>
                <a:lnTo>
                  <a:pt x="908830" y="1653786"/>
                </a:lnTo>
                <a:lnTo>
                  <a:pt x="920737" y="1664096"/>
                </a:lnTo>
                <a:lnTo>
                  <a:pt x="927087" y="1671233"/>
                </a:lnTo>
                <a:lnTo>
                  <a:pt x="932643" y="1678371"/>
                </a:lnTo>
                <a:lnTo>
                  <a:pt x="937405" y="1686302"/>
                </a:lnTo>
                <a:lnTo>
                  <a:pt x="942168" y="1695819"/>
                </a:lnTo>
                <a:lnTo>
                  <a:pt x="946930" y="1706922"/>
                </a:lnTo>
                <a:lnTo>
                  <a:pt x="949312" y="1717232"/>
                </a:lnTo>
                <a:lnTo>
                  <a:pt x="951692" y="1729123"/>
                </a:lnTo>
                <a:lnTo>
                  <a:pt x="951692" y="1736850"/>
                </a:lnTo>
                <a:lnTo>
                  <a:pt x="950899" y="1752712"/>
                </a:lnTo>
                <a:lnTo>
                  <a:pt x="948517" y="1766987"/>
                </a:lnTo>
                <a:lnTo>
                  <a:pt x="943755" y="1781263"/>
                </a:lnTo>
                <a:lnTo>
                  <a:pt x="937405" y="1793952"/>
                </a:lnTo>
                <a:lnTo>
                  <a:pt x="930261" y="1806641"/>
                </a:lnTo>
                <a:lnTo>
                  <a:pt x="920736" y="1818537"/>
                </a:lnTo>
                <a:lnTo>
                  <a:pt x="910417" y="1830434"/>
                </a:lnTo>
                <a:lnTo>
                  <a:pt x="898511" y="1841537"/>
                </a:lnTo>
                <a:lnTo>
                  <a:pt x="885017" y="1849468"/>
                </a:lnTo>
                <a:lnTo>
                  <a:pt x="872317" y="1858985"/>
                </a:lnTo>
                <a:lnTo>
                  <a:pt x="857236" y="1866122"/>
                </a:lnTo>
                <a:lnTo>
                  <a:pt x="840567" y="1872467"/>
                </a:lnTo>
                <a:lnTo>
                  <a:pt x="823899" y="1877225"/>
                </a:lnTo>
                <a:lnTo>
                  <a:pt x="807230" y="1880398"/>
                </a:lnTo>
                <a:lnTo>
                  <a:pt x="788180" y="1882777"/>
                </a:lnTo>
                <a:lnTo>
                  <a:pt x="769924" y="1884363"/>
                </a:lnTo>
                <a:lnTo>
                  <a:pt x="751667" y="1882777"/>
                </a:lnTo>
                <a:lnTo>
                  <a:pt x="733411" y="1880398"/>
                </a:lnTo>
                <a:lnTo>
                  <a:pt x="715949" y="1877225"/>
                </a:lnTo>
                <a:lnTo>
                  <a:pt x="699280" y="1872467"/>
                </a:lnTo>
                <a:lnTo>
                  <a:pt x="683405" y="1866122"/>
                </a:lnTo>
                <a:lnTo>
                  <a:pt x="668324" y="1858985"/>
                </a:lnTo>
                <a:lnTo>
                  <a:pt x="654036" y="1849468"/>
                </a:lnTo>
                <a:lnTo>
                  <a:pt x="641336" y="1841537"/>
                </a:lnTo>
                <a:lnTo>
                  <a:pt x="629430" y="1830434"/>
                </a:lnTo>
                <a:lnTo>
                  <a:pt x="619905" y="1818537"/>
                </a:lnTo>
                <a:lnTo>
                  <a:pt x="610380" y="1806641"/>
                </a:lnTo>
                <a:lnTo>
                  <a:pt x="601649" y="1793952"/>
                </a:lnTo>
                <a:lnTo>
                  <a:pt x="596092" y="1781263"/>
                </a:lnTo>
                <a:lnTo>
                  <a:pt x="591330" y="1766987"/>
                </a:lnTo>
                <a:lnTo>
                  <a:pt x="588949" y="1752712"/>
                </a:lnTo>
                <a:lnTo>
                  <a:pt x="588949" y="1742611"/>
                </a:lnTo>
                <a:lnTo>
                  <a:pt x="588949" y="1729128"/>
                </a:lnTo>
                <a:lnTo>
                  <a:pt x="591330" y="1717232"/>
                </a:lnTo>
                <a:lnTo>
                  <a:pt x="594505" y="1706922"/>
                </a:lnTo>
                <a:lnTo>
                  <a:pt x="598474" y="1695819"/>
                </a:lnTo>
                <a:lnTo>
                  <a:pt x="603236" y="1686302"/>
                </a:lnTo>
                <a:lnTo>
                  <a:pt x="608793" y="1678371"/>
                </a:lnTo>
                <a:lnTo>
                  <a:pt x="613555" y="1671233"/>
                </a:lnTo>
                <a:lnTo>
                  <a:pt x="619905" y="1664096"/>
                </a:lnTo>
                <a:lnTo>
                  <a:pt x="631811" y="1653786"/>
                </a:lnTo>
                <a:lnTo>
                  <a:pt x="642130" y="1646648"/>
                </a:lnTo>
                <a:lnTo>
                  <a:pt x="651655" y="1640303"/>
                </a:lnTo>
                <a:lnTo>
                  <a:pt x="663561" y="1633165"/>
                </a:lnTo>
                <a:lnTo>
                  <a:pt x="673087" y="1626028"/>
                </a:lnTo>
                <a:lnTo>
                  <a:pt x="678643" y="1618890"/>
                </a:lnTo>
                <a:lnTo>
                  <a:pt x="683405" y="1610959"/>
                </a:lnTo>
                <a:lnTo>
                  <a:pt x="684993" y="1602235"/>
                </a:lnTo>
                <a:lnTo>
                  <a:pt x="683405" y="1595097"/>
                </a:lnTo>
                <a:lnTo>
                  <a:pt x="683405" y="1593302"/>
                </a:lnTo>
                <a:lnTo>
                  <a:pt x="682611" y="1588544"/>
                </a:lnTo>
                <a:lnTo>
                  <a:pt x="680230" y="1585371"/>
                </a:lnTo>
                <a:lnTo>
                  <a:pt x="676261" y="1580613"/>
                </a:lnTo>
                <a:lnTo>
                  <a:pt x="671499" y="1576648"/>
                </a:lnTo>
                <a:lnTo>
                  <a:pt x="666736" y="1574268"/>
                </a:lnTo>
                <a:lnTo>
                  <a:pt x="659592" y="1571889"/>
                </a:lnTo>
                <a:lnTo>
                  <a:pt x="651655" y="1571096"/>
                </a:lnTo>
                <a:lnTo>
                  <a:pt x="642130" y="1569510"/>
                </a:lnTo>
                <a:lnTo>
                  <a:pt x="0" y="1569510"/>
                </a:lnTo>
                <a:lnTo>
                  <a:pt x="0" y="0"/>
                </a:lnTo>
                <a:lnTo>
                  <a:pt x="673880" y="0"/>
                </a:lnTo>
                <a:lnTo>
                  <a:pt x="680230" y="6345"/>
                </a:lnTo>
                <a:lnTo>
                  <a:pt x="683405" y="11896"/>
                </a:lnTo>
                <a:lnTo>
                  <a:pt x="684281" y="15837"/>
                </a:lnTo>
                <a:lnTo>
                  <a:pt x="684134" y="16278"/>
                </a:lnTo>
                <a:lnTo>
                  <a:pt x="681750" y="21836"/>
                </a:lnTo>
                <a:lnTo>
                  <a:pt x="678572" y="26601"/>
                </a:lnTo>
                <a:lnTo>
                  <a:pt x="673805" y="32953"/>
                </a:lnTo>
                <a:lnTo>
                  <a:pt x="667448" y="37718"/>
                </a:lnTo>
                <a:lnTo>
                  <a:pt x="660297" y="42482"/>
                </a:lnTo>
                <a:lnTo>
                  <a:pt x="652352" y="47247"/>
                </a:lnTo>
                <a:lnTo>
                  <a:pt x="642817" y="52805"/>
                </a:lnTo>
                <a:lnTo>
                  <a:pt x="632488" y="59952"/>
                </a:lnTo>
                <a:lnTo>
                  <a:pt x="620570" y="71069"/>
                </a:lnTo>
                <a:lnTo>
                  <a:pt x="614213" y="78216"/>
                </a:lnTo>
                <a:lnTo>
                  <a:pt x="609446" y="85363"/>
                </a:lnTo>
                <a:lnTo>
                  <a:pt x="603884" y="93304"/>
                </a:lnTo>
                <a:lnTo>
                  <a:pt x="599117" y="102833"/>
                </a:lnTo>
                <a:lnTo>
                  <a:pt x="595144" y="113156"/>
                </a:lnTo>
                <a:lnTo>
                  <a:pt x="591966" y="124273"/>
                </a:lnTo>
                <a:lnTo>
                  <a:pt x="589582" y="136184"/>
                </a:lnTo>
                <a:lnTo>
                  <a:pt x="589582" y="142765"/>
                </a:lnTo>
                <a:lnTo>
                  <a:pt x="588949" y="145927"/>
                </a:lnTo>
                <a:lnTo>
                  <a:pt x="588949" y="159410"/>
                </a:lnTo>
                <a:lnTo>
                  <a:pt x="588949" y="174478"/>
                </a:lnTo>
                <a:lnTo>
                  <a:pt x="592124" y="188754"/>
                </a:lnTo>
                <a:lnTo>
                  <a:pt x="596092" y="203029"/>
                </a:lnTo>
                <a:lnTo>
                  <a:pt x="603236" y="215718"/>
                </a:lnTo>
                <a:lnTo>
                  <a:pt x="610380" y="229201"/>
                </a:lnTo>
                <a:lnTo>
                  <a:pt x="619905" y="241097"/>
                </a:lnTo>
                <a:lnTo>
                  <a:pt x="630224" y="252993"/>
                </a:lnTo>
                <a:lnTo>
                  <a:pt x="642130" y="262510"/>
                </a:lnTo>
                <a:lnTo>
                  <a:pt x="654036" y="272027"/>
                </a:lnTo>
                <a:lnTo>
                  <a:pt x="668324" y="279958"/>
                </a:lnTo>
                <a:lnTo>
                  <a:pt x="683405" y="288682"/>
                </a:lnTo>
                <a:lnTo>
                  <a:pt x="699280" y="294233"/>
                </a:lnTo>
                <a:lnTo>
                  <a:pt x="715949" y="298992"/>
                </a:lnTo>
                <a:lnTo>
                  <a:pt x="733411" y="302957"/>
                </a:lnTo>
                <a:lnTo>
                  <a:pt x="751667" y="305337"/>
                </a:lnTo>
                <a:lnTo>
                  <a:pt x="769924" y="306130"/>
                </a:lnTo>
                <a:lnTo>
                  <a:pt x="788974" y="305337"/>
                </a:lnTo>
                <a:lnTo>
                  <a:pt x="807230" y="302957"/>
                </a:lnTo>
                <a:lnTo>
                  <a:pt x="824692" y="298992"/>
                </a:lnTo>
                <a:lnTo>
                  <a:pt x="841361" y="294233"/>
                </a:lnTo>
                <a:lnTo>
                  <a:pt x="857236" y="288682"/>
                </a:lnTo>
                <a:lnTo>
                  <a:pt x="872317" y="279958"/>
                </a:lnTo>
                <a:lnTo>
                  <a:pt x="886605" y="272027"/>
                </a:lnTo>
                <a:lnTo>
                  <a:pt x="899305" y="262510"/>
                </a:lnTo>
                <a:lnTo>
                  <a:pt x="910417" y="252993"/>
                </a:lnTo>
                <a:lnTo>
                  <a:pt x="920736" y="241097"/>
                </a:lnTo>
                <a:lnTo>
                  <a:pt x="930261" y="229201"/>
                </a:lnTo>
                <a:lnTo>
                  <a:pt x="937405" y="215718"/>
                </a:lnTo>
                <a:lnTo>
                  <a:pt x="944549" y="203029"/>
                </a:lnTo>
                <a:lnTo>
                  <a:pt x="948517" y="188754"/>
                </a:lnTo>
                <a:lnTo>
                  <a:pt x="951692" y="174478"/>
                </a:lnTo>
                <a:lnTo>
                  <a:pt x="953280" y="159410"/>
                </a:lnTo>
                <a:lnTo>
                  <a:pt x="953253" y="159178"/>
                </a:lnTo>
                <a:lnTo>
                  <a:pt x="954282" y="148890"/>
                </a:lnTo>
                <a:lnTo>
                  <a:pt x="952693" y="136184"/>
                </a:lnTo>
                <a:lnTo>
                  <a:pt x="950309" y="124273"/>
                </a:lnTo>
                <a:lnTo>
                  <a:pt x="947926" y="113156"/>
                </a:lnTo>
                <a:lnTo>
                  <a:pt x="943158" y="102833"/>
                </a:lnTo>
                <a:lnTo>
                  <a:pt x="938391" y="93304"/>
                </a:lnTo>
                <a:lnTo>
                  <a:pt x="933624" y="85363"/>
                </a:lnTo>
                <a:lnTo>
                  <a:pt x="928062" y="78216"/>
                </a:lnTo>
                <a:lnTo>
                  <a:pt x="921705" y="71069"/>
                </a:lnTo>
                <a:lnTo>
                  <a:pt x="909787" y="59952"/>
                </a:lnTo>
                <a:lnTo>
                  <a:pt x="899458" y="52805"/>
                </a:lnTo>
                <a:lnTo>
                  <a:pt x="889923" y="47247"/>
                </a:lnTo>
                <a:lnTo>
                  <a:pt x="881978" y="42482"/>
                </a:lnTo>
                <a:lnTo>
                  <a:pt x="874827" y="37718"/>
                </a:lnTo>
                <a:lnTo>
                  <a:pt x="868470" y="32953"/>
                </a:lnTo>
                <a:lnTo>
                  <a:pt x="863703" y="26601"/>
                </a:lnTo>
                <a:lnTo>
                  <a:pt x="860525" y="21836"/>
                </a:lnTo>
                <a:lnTo>
                  <a:pt x="858141" y="16278"/>
                </a:lnTo>
                <a:lnTo>
                  <a:pt x="857014" y="12897"/>
                </a:lnTo>
                <a:lnTo>
                  <a:pt x="857236" y="11896"/>
                </a:lnTo>
                <a:lnTo>
                  <a:pt x="860411" y="6345"/>
                </a:lnTo>
                <a:lnTo>
                  <a:pt x="866761" y="0"/>
                </a:lnTo>
                <a:lnTo>
                  <a:pt x="1534305" y="0"/>
                </a:lnTo>
                <a:lnTo>
                  <a:pt x="1534305" y="636053"/>
                </a:lnTo>
                <a:lnTo>
                  <a:pt x="1534305" y="645570"/>
                </a:lnTo>
                <a:lnTo>
                  <a:pt x="1535892" y="653500"/>
                </a:lnTo>
                <a:lnTo>
                  <a:pt x="1538273" y="660638"/>
                </a:lnTo>
                <a:lnTo>
                  <a:pt x="1541448" y="666190"/>
                </a:lnTo>
                <a:lnTo>
                  <a:pt x="1545417" y="670948"/>
                </a:lnTo>
                <a:lnTo>
                  <a:pt x="1548592" y="674914"/>
                </a:lnTo>
                <a:lnTo>
                  <a:pt x="1553355" y="677293"/>
                </a:lnTo>
                <a:lnTo>
                  <a:pt x="1558117" y="678086"/>
                </a:lnTo>
                <a:lnTo>
                  <a:pt x="1562880" y="678086"/>
                </a:lnTo>
                <a:lnTo>
                  <a:pt x="1569230" y="677293"/>
                </a:lnTo>
                <a:lnTo>
                  <a:pt x="1573992" y="674914"/>
                </a:lnTo>
                <a:lnTo>
                  <a:pt x="1579548" y="670948"/>
                </a:lnTo>
                <a:lnTo>
                  <a:pt x="1584311" y="666190"/>
                </a:lnTo>
                <a:lnTo>
                  <a:pt x="1584599" y="665854"/>
                </a:lnTo>
                <a:lnTo>
                  <a:pt x="1588281" y="664014"/>
                </a:lnTo>
                <a:lnTo>
                  <a:pt x="1593043" y="659253"/>
                </a:lnTo>
                <a:lnTo>
                  <a:pt x="1598599" y="653699"/>
                </a:lnTo>
                <a:lnTo>
                  <a:pt x="1603362" y="646558"/>
                </a:lnTo>
                <a:lnTo>
                  <a:pt x="1608124" y="639417"/>
                </a:lnTo>
                <a:lnTo>
                  <a:pt x="1614474" y="628308"/>
                </a:lnTo>
                <a:lnTo>
                  <a:pt x="1621618" y="618787"/>
                </a:lnTo>
                <a:lnTo>
                  <a:pt x="1631937" y="606885"/>
                </a:lnTo>
                <a:lnTo>
                  <a:pt x="1636499" y="603338"/>
                </a:lnTo>
                <a:lnTo>
                  <a:pt x="1637492" y="602743"/>
                </a:lnTo>
                <a:lnTo>
                  <a:pt x="1646223" y="596399"/>
                </a:lnTo>
                <a:lnTo>
                  <a:pt x="1655748" y="591640"/>
                </a:lnTo>
                <a:lnTo>
                  <a:pt x="1665273" y="588468"/>
                </a:lnTo>
                <a:lnTo>
                  <a:pt x="1677180" y="584502"/>
                </a:lnTo>
                <a:lnTo>
                  <a:pt x="1689086" y="582123"/>
                </a:lnTo>
                <a:lnTo>
                  <a:pt x="1701786" y="582123"/>
                </a:lnTo>
                <a:lnTo>
                  <a:pt x="1716073" y="582123"/>
                </a:lnTo>
                <a:lnTo>
                  <a:pt x="1731155" y="586088"/>
                </a:lnTo>
                <a:lnTo>
                  <a:pt x="1744648" y="590847"/>
                </a:lnTo>
                <a:lnTo>
                  <a:pt x="1758936" y="596399"/>
                </a:lnTo>
                <a:lnTo>
                  <a:pt x="1770842" y="603536"/>
                </a:lnTo>
                <a:lnTo>
                  <a:pt x="1783542" y="613053"/>
                </a:lnTo>
                <a:lnTo>
                  <a:pt x="1794655" y="624156"/>
                </a:lnTo>
                <a:lnTo>
                  <a:pt x="1804973" y="636053"/>
                </a:lnTo>
                <a:lnTo>
                  <a:pt x="1814498" y="647949"/>
                </a:lnTo>
                <a:lnTo>
                  <a:pt x="1822436" y="662224"/>
                </a:lnTo>
                <a:lnTo>
                  <a:pt x="1829580" y="677293"/>
                </a:lnTo>
                <a:lnTo>
                  <a:pt x="1835930" y="692361"/>
                </a:lnTo>
                <a:lnTo>
                  <a:pt x="1840692" y="709016"/>
                </a:lnTo>
                <a:lnTo>
                  <a:pt x="1845455" y="727257"/>
                </a:lnTo>
                <a:lnTo>
                  <a:pt x="1846248" y="744705"/>
                </a:lnTo>
                <a:lnTo>
                  <a:pt x="1847836" y="763739"/>
                </a:lnTo>
                <a:close/>
              </a:path>
            </a:pathLst>
          </a:custGeom>
          <a:ln>
            <a:solidFill>
              <a:schemeClr val="tx1">
                <a:lumMod val="50000"/>
                <a:lumOff val="50000"/>
              </a:schemeClr>
            </a:solidFill>
          </a:ln>
        </p:spPr>
      </p:pic>
      <p:sp>
        <p:nvSpPr>
          <p:cNvPr id="12" name="Rectangle 11">
            <a:extLst>
              <a:ext uri="{FF2B5EF4-FFF2-40B4-BE49-F238E27FC236}">
                <a16:creationId xmlns:a16="http://schemas.microsoft.com/office/drawing/2014/main" id="{24A28A7E-AF20-4000-91D8-1E4C16744BA5}"/>
              </a:ext>
            </a:extLst>
          </p:cNvPr>
          <p:cNvSpPr/>
          <p:nvPr/>
        </p:nvSpPr>
        <p:spPr>
          <a:xfrm>
            <a:off x="0" y="48170"/>
            <a:ext cx="12192000" cy="6858000"/>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9D739A2-AE66-4794-9CFC-5BB1E051F4AA}"/>
              </a:ext>
            </a:extLst>
          </p:cNvPr>
          <p:cNvSpPr txBox="1">
            <a:spLocks/>
          </p:cNvSpPr>
          <p:nvPr/>
        </p:nvSpPr>
        <p:spPr>
          <a:xfrm>
            <a:off x="402136" y="88186"/>
            <a:ext cx="11599334" cy="733833"/>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r>
              <a:rPr lang="en-US" sz="4000" b="1" dirty="0">
                <a:latin typeface="Palatino Linotype" panose="02040502050505030304" pitchFamily="18" charset="0"/>
              </a:rPr>
              <a:t>Linking Soil and Watershed Health to </a:t>
            </a:r>
            <a:br>
              <a:rPr lang="en-US" sz="4000" b="1" dirty="0">
                <a:latin typeface="Palatino Linotype" panose="02040502050505030304" pitchFamily="18" charset="0"/>
              </a:rPr>
            </a:br>
            <a:r>
              <a:rPr lang="en-US" sz="4000" b="1" dirty="0">
                <a:latin typeface="Palatino Linotype" panose="02040502050505030304" pitchFamily="18" charset="0"/>
              </a:rPr>
              <a:t>In-field and Edge-of-Field Water Management </a:t>
            </a:r>
            <a:endParaRPr lang="en-US" sz="4000" dirty="0">
              <a:latin typeface="Palatino Linotype" panose="02040502050505030304" pitchFamily="18" charset="0"/>
            </a:endParaRPr>
          </a:p>
        </p:txBody>
      </p:sp>
      <p:cxnSp>
        <p:nvCxnSpPr>
          <p:cNvPr id="15" name="Straight Connector 14">
            <a:extLst>
              <a:ext uri="{FF2B5EF4-FFF2-40B4-BE49-F238E27FC236}">
                <a16:creationId xmlns:a16="http://schemas.microsoft.com/office/drawing/2014/main" id="{09397C40-2725-4CA8-9087-5D42D7390608}"/>
              </a:ext>
            </a:extLst>
          </p:cNvPr>
          <p:cNvCxnSpPr/>
          <p:nvPr/>
        </p:nvCxnSpPr>
        <p:spPr>
          <a:xfrm>
            <a:off x="1557325" y="1312959"/>
            <a:ext cx="100584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F301FBEB-0A5B-4A5C-8E7D-776E15F8EDE2}"/>
              </a:ext>
            </a:extLst>
          </p:cNvPr>
          <p:cNvSpPr txBox="1">
            <a:spLocks/>
          </p:cNvSpPr>
          <p:nvPr/>
        </p:nvSpPr>
        <p:spPr>
          <a:xfrm>
            <a:off x="1300811" y="1433461"/>
            <a:ext cx="10405535" cy="4377998"/>
          </a:xfrm>
          <a:prstGeom prst="rect">
            <a:avLst/>
          </a:prstGeom>
          <a:noFill/>
        </p:spPr>
        <p:txBody>
          <a:bodyP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346075" indent="0">
              <a:buFont typeface="Calibri" panose="020F0502020204030204" pitchFamily="34" charset="0"/>
              <a:buNone/>
            </a:pPr>
            <a:r>
              <a:rPr lang="en-US" sz="3000" b="1" dirty="0">
                <a:solidFill>
                  <a:srgbClr val="0070C0"/>
                </a:solidFill>
                <a:latin typeface="Palatino Linotype" panose="02040502050505030304" pitchFamily="18" charset="0"/>
              </a:rPr>
              <a:t>Session IV: </a:t>
            </a:r>
            <a:r>
              <a:rPr lang="en-US" sz="3000" b="1" dirty="0">
                <a:latin typeface="Palatino Linotype" panose="02040502050505030304" pitchFamily="18" charset="0"/>
              </a:rPr>
              <a:t>Innovative Drainage Practices to Manage Shallow Water Tables</a:t>
            </a:r>
          </a:p>
          <a:p>
            <a:pPr marL="346075" indent="0">
              <a:lnSpc>
                <a:spcPct val="100000"/>
              </a:lnSpc>
              <a:spcBef>
                <a:spcPts val="0"/>
              </a:spcBef>
              <a:buFont typeface="Calibri" panose="020F0502020204030204" pitchFamily="34" charset="0"/>
              <a:buNone/>
            </a:pPr>
            <a:r>
              <a:rPr lang="en-US" sz="3200" b="1" dirty="0">
                <a:latin typeface="Palatino Linotype" panose="02040502050505030304" pitchFamily="18" charset="0"/>
              </a:rPr>
              <a:t>		</a:t>
            </a:r>
            <a:r>
              <a:rPr lang="en-US" sz="2800" b="1" i="1" dirty="0">
                <a:solidFill>
                  <a:schemeClr val="bg1">
                    <a:lumMod val="50000"/>
                  </a:schemeClr>
                </a:solidFill>
                <a:latin typeface="Palatino Linotype" panose="02040502050505030304" pitchFamily="18" charset="0"/>
              </a:rPr>
              <a:t>Jane Frankenberger	 	Richard Cook</a:t>
            </a:r>
          </a:p>
          <a:p>
            <a:pPr marL="346075" indent="0">
              <a:lnSpc>
                <a:spcPct val="100000"/>
              </a:lnSpc>
              <a:spcBef>
                <a:spcPts val="0"/>
              </a:spcBef>
              <a:buFont typeface="Calibri" panose="020F0502020204030204" pitchFamily="34" charset="0"/>
              <a:buNone/>
            </a:pPr>
            <a:r>
              <a:rPr lang="en-US" sz="2800" b="1" i="1" dirty="0">
                <a:solidFill>
                  <a:schemeClr val="bg1">
                    <a:lumMod val="50000"/>
                  </a:schemeClr>
                </a:solidFill>
                <a:latin typeface="Palatino Linotype" panose="02040502050505030304" pitchFamily="18" charset="0"/>
              </a:rPr>
              <a:t>		Francois Birgand			Jeff Strock</a:t>
            </a:r>
          </a:p>
          <a:p>
            <a:pPr marL="346075" indent="0">
              <a:buFont typeface="Calibri" panose="020F0502020204030204" pitchFamily="34" charset="0"/>
              <a:buNone/>
            </a:pPr>
            <a:r>
              <a:rPr lang="en-US" sz="3000" b="1" dirty="0">
                <a:solidFill>
                  <a:srgbClr val="0070C0"/>
                </a:solidFill>
                <a:latin typeface="Palatino Linotype" panose="02040502050505030304" pitchFamily="18" charset="0"/>
              </a:rPr>
              <a:t>Session V: </a:t>
            </a:r>
            <a:r>
              <a:rPr lang="en-US" sz="3000" b="1" dirty="0">
                <a:latin typeface="Palatino Linotype" panose="02040502050505030304" pitchFamily="18" charset="0"/>
              </a:rPr>
              <a:t>Understanding the Broader Range of Concerns Related to Drainage Water Management</a:t>
            </a:r>
          </a:p>
          <a:p>
            <a:pPr marL="346075" indent="0">
              <a:lnSpc>
                <a:spcPct val="100000"/>
              </a:lnSpc>
              <a:spcBef>
                <a:spcPts val="0"/>
              </a:spcBef>
              <a:buFont typeface="Calibri" panose="020F0502020204030204" pitchFamily="34" charset="0"/>
              <a:buNone/>
            </a:pPr>
            <a:r>
              <a:rPr lang="en-US" sz="3600" b="1" dirty="0">
                <a:latin typeface="Palatino Linotype" panose="02040502050505030304" pitchFamily="18" charset="0"/>
              </a:rPr>
              <a:t>		</a:t>
            </a:r>
            <a:r>
              <a:rPr lang="en-US" sz="2800" b="1" i="1" dirty="0">
                <a:solidFill>
                  <a:schemeClr val="bg1">
                    <a:lumMod val="50000"/>
                  </a:schemeClr>
                </a:solidFill>
                <a:latin typeface="Palatino Linotype" panose="02040502050505030304" pitchFamily="18" charset="0"/>
              </a:rPr>
              <a:t>Steve Mirsky			Sam Zipper</a:t>
            </a:r>
          </a:p>
          <a:p>
            <a:pPr marL="346075" indent="0">
              <a:lnSpc>
                <a:spcPct val="100000"/>
              </a:lnSpc>
              <a:spcBef>
                <a:spcPts val="0"/>
              </a:spcBef>
              <a:buFont typeface="Calibri" panose="020F0502020204030204" pitchFamily="34" charset="0"/>
              <a:buNone/>
            </a:pPr>
            <a:r>
              <a:rPr lang="en-US" sz="2800" b="1" i="1" dirty="0">
                <a:solidFill>
                  <a:schemeClr val="bg1">
                    <a:lumMod val="50000"/>
                  </a:schemeClr>
                </a:solidFill>
                <a:latin typeface="Palatino Linotype" panose="02040502050505030304" pitchFamily="18" charset="0"/>
              </a:rPr>
              <a:t>		Chandra Madramootoo	Genevieve Ali</a:t>
            </a:r>
          </a:p>
          <a:p>
            <a:pPr marL="346075" indent="0">
              <a:buFont typeface="Calibri" panose="020F0502020204030204" pitchFamily="34" charset="0"/>
              <a:buNone/>
            </a:pPr>
            <a:r>
              <a:rPr lang="en-US" sz="3000" b="1" dirty="0">
                <a:solidFill>
                  <a:srgbClr val="0070C0"/>
                </a:solidFill>
                <a:latin typeface="Palatino Linotype" panose="02040502050505030304" pitchFamily="18" charset="0"/>
              </a:rPr>
              <a:t>Session VI: </a:t>
            </a:r>
            <a:r>
              <a:rPr lang="en-US" sz="3000" b="1" dirty="0">
                <a:latin typeface="Palatino Linotype" panose="02040502050505030304" pitchFamily="18" charset="0"/>
              </a:rPr>
              <a:t>Bridging the Sessions: Interactive Discussion </a:t>
            </a:r>
          </a:p>
          <a:p>
            <a:pPr marL="346075" indent="0">
              <a:lnSpc>
                <a:spcPct val="100000"/>
              </a:lnSpc>
              <a:spcBef>
                <a:spcPts val="0"/>
              </a:spcBef>
              <a:buFont typeface="Calibri" panose="020F0502020204030204" pitchFamily="34" charset="0"/>
              <a:buNone/>
            </a:pPr>
            <a:r>
              <a:rPr lang="en-US" sz="3200" b="1" i="1" dirty="0">
                <a:solidFill>
                  <a:schemeClr val="tx1">
                    <a:lumMod val="50000"/>
                    <a:lumOff val="50000"/>
                  </a:schemeClr>
                </a:solidFill>
                <a:latin typeface="Palatino Linotype" panose="02040502050505030304" pitchFamily="18" charset="0"/>
              </a:rPr>
              <a:t>	</a:t>
            </a:r>
            <a:r>
              <a:rPr lang="en-US" sz="2800" b="1" i="1" dirty="0">
                <a:solidFill>
                  <a:schemeClr val="bg1">
                    <a:lumMod val="50000"/>
                  </a:schemeClr>
                </a:solidFill>
                <a:latin typeface="Palatino Linotype" panose="02040502050505030304" pitchFamily="18" charset="0"/>
              </a:rPr>
              <a:t>Mark Tomer	Paul Wolfe		Tom Bruulsema</a:t>
            </a:r>
            <a:endParaRPr lang="en-US" sz="2800" b="1" dirty="0">
              <a:solidFill>
                <a:schemeClr val="bg1">
                  <a:lumMod val="50000"/>
                </a:schemeClr>
              </a:solidFill>
              <a:latin typeface="Palatino Linotype" panose="02040502050505030304" pitchFamily="18" charset="0"/>
            </a:endParaRPr>
          </a:p>
        </p:txBody>
      </p:sp>
      <p:sp>
        <p:nvSpPr>
          <p:cNvPr id="18" name="TextBox 17">
            <a:extLst>
              <a:ext uri="{FF2B5EF4-FFF2-40B4-BE49-F238E27FC236}">
                <a16:creationId xmlns:a16="http://schemas.microsoft.com/office/drawing/2014/main" id="{CF9C9B9E-5ABE-4E10-94D0-58AA635A6125}"/>
              </a:ext>
            </a:extLst>
          </p:cNvPr>
          <p:cNvSpPr txBox="1"/>
          <p:nvPr/>
        </p:nvSpPr>
        <p:spPr>
          <a:xfrm rot="20264571">
            <a:off x="-222027" y="1525443"/>
            <a:ext cx="1906113" cy="707886"/>
          </a:xfrm>
          <a:prstGeom prst="rect">
            <a:avLst/>
          </a:prstGeom>
          <a:noFill/>
        </p:spPr>
        <p:txBody>
          <a:bodyPr wrap="square" rtlCol="0">
            <a:spAutoFit/>
          </a:bodyPr>
          <a:lstStyle/>
          <a:p>
            <a:pPr algn="ctr"/>
            <a:r>
              <a:rPr lang="en-US" sz="4000" b="1" i="1" dirty="0">
                <a:solidFill>
                  <a:srgbClr val="92D050"/>
                </a:solidFill>
                <a:latin typeface="Palatino Linotype" panose="02040502050505030304" pitchFamily="18" charset="0"/>
              </a:rPr>
              <a:t>Day 2</a:t>
            </a:r>
          </a:p>
        </p:txBody>
      </p:sp>
    </p:spTree>
    <p:extLst>
      <p:ext uri="{BB962C8B-B14F-4D97-AF65-F5344CB8AC3E}">
        <p14:creationId xmlns:p14="http://schemas.microsoft.com/office/powerpoint/2010/main" val="29795958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C1207D5-A90F-4841-AA72-6D405E9DB59D}"/>
              </a:ext>
            </a:extLst>
          </p:cNvPr>
          <p:cNvSpPr>
            <a:spLocks noGrp="1"/>
          </p:cNvSpPr>
          <p:nvPr>
            <p:ph type="title"/>
          </p:nvPr>
        </p:nvSpPr>
        <p:spPr>
          <a:xfrm>
            <a:off x="1066800" y="244562"/>
            <a:ext cx="10058400" cy="733833"/>
          </a:xfrm>
        </p:spPr>
        <p:txBody>
          <a:bodyPr>
            <a:normAutofit fontScale="90000"/>
          </a:bodyPr>
          <a:lstStyle/>
          <a:p>
            <a:pPr algn="ctr"/>
            <a:r>
              <a:rPr lang="en-US" sz="3600" b="1" i="1" dirty="0"/>
              <a:t>Linking Soil and Watershed Health to </a:t>
            </a:r>
            <a:br>
              <a:rPr lang="en-US" sz="3600" b="1" dirty="0"/>
            </a:br>
            <a:r>
              <a:rPr lang="en-US" sz="3600" b="1" i="1" dirty="0"/>
              <a:t>In-field and Edge-of-Field Water Management </a:t>
            </a:r>
            <a:endParaRPr lang="en-US" sz="2700" dirty="0"/>
          </a:p>
        </p:txBody>
      </p:sp>
      <p:sp useBgFill="1">
        <p:nvSpPr>
          <p:cNvPr id="5" name="Content Placeholder 2">
            <a:extLst>
              <a:ext uri="{FF2B5EF4-FFF2-40B4-BE49-F238E27FC236}">
                <a16:creationId xmlns:a16="http://schemas.microsoft.com/office/drawing/2014/main" id="{64467172-D8FB-4948-86AF-3EBAF7590B5E}"/>
              </a:ext>
            </a:extLst>
          </p:cNvPr>
          <p:cNvSpPr>
            <a:spLocks noGrp="1"/>
          </p:cNvSpPr>
          <p:nvPr>
            <p:ph idx="1"/>
          </p:nvPr>
        </p:nvSpPr>
        <p:spPr>
          <a:xfrm>
            <a:off x="929114" y="1249800"/>
            <a:ext cx="10058400" cy="4023360"/>
          </a:xfrm>
        </p:spPr>
        <p:txBody>
          <a:bodyPr>
            <a:noAutofit/>
          </a:bodyPr>
          <a:lstStyle/>
          <a:p>
            <a:r>
              <a:rPr lang="en-US" sz="3600" b="1" dirty="0"/>
              <a:t>Workshop Structure:</a:t>
            </a:r>
            <a:endParaRPr lang="en-US" sz="3600" dirty="0"/>
          </a:p>
          <a:p>
            <a:pPr marL="168275" lvl="0" indent="0">
              <a:buNone/>
            </a:pPr>
            <a:r>
              <a:rPr lang="en-US" sz="2600" b="1" dirty="0"/>
              <a:t>Plenaries: </a:t>
            </a:r>
          </a:p>
        </p:txBody>
      </p:sp>
      <p:cxnSp>
        <p:nvCxnSpPr>
          <p:cNvPr id="7" name="Straight Connector 6">
            <a:extLst>
              <a:ext uri="{FF2B5EF4-FFF2-40B4-BE49-F238E27FC236}">
                <a16:creationId xmlns:a16="http://schemas.microsoft.com/office/drawing/2014/main" id="{C5A3888C-B4D1-4A7C-B66F-606886D9FA41}"/>
              </a:ext>
            </a:extLst>
          </p:cNvPr>
          <p:cNvCxnSpPr/>
          <p:nvPr/>
        </p:nvCxnSpPr>
        <p:spPr>
          <a:xfrm>
            <a:off x="1066800" y="1114097"/>
            <a:ext cx="10058400" cy="0"/>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1" name="Picture 10" descr="A person wearing a suit and tie smiling at the camera&#10;&#10;Description automatically generated">
            <a:extLst>
              <a:ext uri="{FF2B5EF4-FFF2-40B4-BE49-F238E27FC236}">
                <a16:creationId xmlns:a16="http://schemas.microsoft.com/office/drawing/2014/main" id="{145EFE86-29F8-48E3-8915-F8B2ACDD76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4291" y="2572765"/>
            <a:ext cx="2524308" cy="2971800"/>
          </a:xfrm>
          <a:prstGeom prst="rect">
            <a:avLst/>
          </a:prstGeom>
        </p:spPr>
      </p:pic>
      <p:pic>
        <p:nvPicPr>
          <p:cNvPr id="21508" name="Picture 4" descr="Image result for christopher craft indiana university">
            <a:extLst>
              <a:ext uri="{FF2B5EF4-FFF2-40B4-BE49-F238E27FC236}">
                <a16:creationId xmlns:a16="http://schemas.microsoft.com/office/drawing/2014/main" id="{36B4162E-D9DA-4CEA-B09E-5B66275898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4427" y="2572765"/>
            <a:ext cx="2303145" cy="29718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person wearing a suit and tie smiling at the camera&#10;&#10;Description automatically generated">
            <a:extLst>
              <a:ext uri="{FF2B5EF4-FFF2-40B4-BE49-F238E27FC236}">
                <a16:creationId xmlns:a16="http://schemas.microsoft.com/office/drawing/2014/main" id="{31FD3BDE-27A5-462A-9419-4BA18BAB701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53400" y="2572765"/>
            <a:ext cx="2971800" cy="2971800"/>
          </a:xfrm>
          <a:prstGeom prst="rect">
            <a:avLst/>
          </a:prstGeom>
        </p:spPr>
      </p:pic>
      <p:sp>
        <p:nvSpPr>
          <p:cNvPr id="14" name="TextBox 13">
            <a:extLst>
              <a:ext uri="{FF2B5EF4-FFF2-40B4-BE49-F238E27FC236}">
                <a16:creationId xmlns:a16="http://schemas.microsoft.com/office/drawing/2014/main" id="{E1E559AF-57ED-4BCD-A57B-804EA6BD55FD}"/>
              </a:ext>
            </a:extLst>
          </p:cNvPr>
          <p:cNvSpPr txBox="1"/>
          <p:nvPr/>
        </p:nvSpPr>
        <p:spPr>
          <a:xfrm>
            <a:off x="1066800" y="5539668"/>
            <a:ext cx="3208282" cy="1200329"/>
          </a:xfrm>
          <a:prstGeom prst="rect">
            <a:avLst/>
          </a:prstGeom>
          <a:noFill/>
        </p:spPr>
        <p:txBody>
          <a:bodyPr wrap="square" rtlCol="0">
            <a:spAutoFit/>
          </a:bodyPr>
          <a:lstStyle/>
          <a:p>
            <a:pPr algn="ctr"/>
            <a:r>
              <a:rPr lang="en-US" dirty="0">
                <a:latin typeface="Comic Sans MS" panose="030F0702030302020204" pitchFamily="66" charset="0"/>
              </a:rPr>
              <a:t>Dr. Chandra </a:t>
            </a:r>
            <a:r>
              <a:rPr lang="en-US" dirty="0" err="1">
                <a:latin typeface="Comic Sans MS" panose="030F0702030302020204" pitchFamily="66" charset="0"/>
              </a:rPr>
              <a:t>Madramootoo</a:t>
            </a:r>
            <a:r>
              <a:rPr lang="en-US" dirty="0">
                <a:latin typeface="Comic Sans MS" panose="030F0702030302020204" pitchFamily="66" charset="0"/>
              </a:rPr>
              <a:t>,</a:t>
            </a:r>
          </a:p>
          <a:p>
            <a:pPr algn="ctr"/>
            <a:r>
              <a:rPr lang="en-US" dirty="0">
                <a:latin typeface="Comic Sans MS" panose="030F0702030302020204" pitchFamily="66" charset="0"/>
              </a:rPr>
              <a:t>Bioengineer, </a:t>
            </a:r>
          </a:p>
          <a:p>
            <a:pPr algn="ctr"/>
            <a:r>
              <a:rPr lang="en-US" dirty="0">
                <a:latin typeface="Comic Sans MS" panose="030F0702030302020204" pitchFamily="66" charset="0"/>
              </a:rPr>
              <a:t>Water Innovation Lab</a:t>
            </a:r>
          </a:p>
          <a:p>
            <a:pPr algn="ctr"/>
            <a:r>
              <a:rPr lang="en-US" dirty="0">
                <a:latin typeface="Comic Sans MS" panose="030F0702030302020204" pitchFamily="66" charset="0"/>
              </a:rPr>
              <a:t>McGill University</a:t>
            </a:r>
          </a:p>
        </p:txBody>
      </p:sp>
      <p:sp>
        <p:nvSpPr>
          <p:cNvPr id="17" name="TextBox 16">
            <a:extLst>
              <a:ext uri="{FF2B5EF4-FFF2-40B4-BE49-F238E27FC236}">
                <a16:creationId xmlns:a16="http://schemas.microsoft.com/office/drawing/2014/main" id="{2E3633BD-5347-4944-AA95-40CDAAD93E8A}"/>
              </a:ext>
            </a:extLst>
          </p:cNvPr>
          <p:cNvSpPr txBox="1"/>
          <p:nvPr/>
        </p:nvSpPr>
        <p:spPr>
          <a:xfrm>
            <a:off x="4394768" y="5690108"/>
            <a:ext cx="3402461" cy="923330"/>
          </a:xfrm>
          <a:prstGeom prst="rect">
            <a:avLst/>
          </a:prstGeom>
          <a:noFill/>
        </p:spPr>
        <p:txBody>
          <a:bodyPr wrap="square" rtlCol="0">
            <a:spAutoFit/>
          </a:bodyPr>
          <a:lstStyle/>
          <a:p>
            <a:pPr algn="ctr"/>
            <a:r>
              <a:rPr lang="en-US" dirty="0">
                <a:latin typeface="Comic Sans MS" panose="030F0702030302020204" pitchFamily="66" charset="0"/>
              </a:rPr>
              <a:t>Dr. Christopher Craft,</a:t>
            </a:r>
          </a:p>
          <a:p>
            <a:pPr algn="ctr"/>
            <a:r>
              <a:rPr lang="en-US" dirty="0">
                <a:latin typeface="Comic Sans MS" panose="030F0702030302020204" pitchFamily="66" charset="0"/>
              </a:rPr>
              <a:t>Wetland Soils Biogeochemist </a:t>
            </a:r>
          </a:p>
          <a:p>
            <a:pPr algn="ctr"/>
            <a:r>
              <a:rPr lang="en-US" dirty="0">
                <a:latin typeface="Comic Sans MS" panose="030F0702030302020204" pitchFamily="66" charset="0"/>
              </a:rPr>
              <a:t>Indiana University</a:t>
            </a:r>
          </a:p>
        </p:txBody>
      </p:sp>
      <p:sp>
        <p:nvSpPr>
          <p:cNvPr id="18" name="TextBox 17">
            <a:extLst>
              <a:ext uri="{FF2B5EF4-FFF2-40B4-BE49-F238E27FC236}">
                <a16:creationId xmlns:a16="http://schemas.microsoft.com/office/drawing/2014/main" id="{964382E2-FCB2-4475-947D-A1D629704D15}"/>
              </a:ext>
            </a:extLst>
          </p:cNvPr>
          <p:cNvSpPr txBox="1"/>
          <p:nvPr/>
        </p:nvSpPr>
        <p:spPr>
          <a:xfrm>
            <a:off x="7938069" y="5678167"/>
            <a:ext cx="3402461" cy="923330"/>
          </a:xfrm>
          <a:prstGeom prst="rect">
            <a:avLst/>
          </a:prstGeom>
          <a:noFill/>
        </p:spPr>
        <p:txBody>
          <a:bodyPr wrap="square" rtlCol="0">
            <a:spAutoFit/>
          </a:bodyPr>
          <a:lstStyle/>
          <a:p>
            <a:pPr algn="ctr"/>
            <a:r>
              <a:rPr lang="en-US" dirty="0">
                <a:latin typeface="Comic Sans MS" panose="030F0702030302020204" pitchFamily="66" charset="0"/>
              </a:rPr>
              <a:t>Dr. Donald Rosenberry,</a:t>
            </a:r>
          </a:p>
          <a:p>
            <a:pPr algn="ctr"/>
            <a:r>
              <a:rPr lang="en-US" dirty="0">
                <a:latin typeface="Comic Sans MS" panose="030F0702030302020204" pitchFamily="66" charset="0"/>
              </a:rPr>
              <a:t>Near-surface Hydrogeologist</a:t>
            </a:r>
          </a:p>
          <a:p>
            <a:pPr algn="ctr"/>
            <a:r>
              <a:rPr lang="en-US" dirty="0">
                <a:latin typeface="Comic Sans MS" panose="030F0702030302020204" pitchFamily="66" charset="0"/>
              </a:rPr>
              <a:t>USGS (Colorado)</a:t>
            </a:r>
          </a:p>
        </p:txBody>
      </p:sp>
    </p:spTree>
    <p:extLst>
      <p:ext uri="{BB962C8B-B14F-4D97-AF65-F5344CB8AC3E}">
        <p14:creationId xmlns:p14="http://schemas.microsoft.com/office/powerpoint/2010/main" val="1796148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1EBE1-61DB-4E20-8786-DD20D2374582}"/>
              </a:ext>
            </a:extLst>
          </p:cNvPr>
          <p:cNvSpPr>
            <a:spLocks noGrp="1"/>
          </p:cNvSpPr>
          <p:nvPr>
            <p:ph type="title"/>
          </p:nvPr>
        </p:nvSpPr>
        <p:spPr>
          <a:xfrm>
            <a:off x="324678" y="226233"/>
            <a:ext cx="11867322" cy="1450757"/>
          </a:xfrm>
        </p:spPr>
        <p:txBody>
          <a:bodyPr>
            <a:normAutofit fontScale="90000"/>
          </a:bodyPr>
          <a:lstStyle/>
          <a:p>
            <a:pPr algn="ctr"/>
            <a:r>
              <a:rPr lang="en-US" b="1" dirty="0">
                <a:latin typeface="Palatino Linotype" panose="02040502050505030304" pitchFamily="18" charset="0"/>
              </a:rPr>
              <a:t>Linking Soil and Watershed Health to </a:t>
            </a:r>
            <a:br>
              <a:rPr lang="en-US" b="1" dirty="0">
                <a:latin typeface="Palatino Linotype" panose="02040502050505030304" pitchFamily="18" charset="0"/>
              </a:rPr>
            </a:br>
            <a:r>
              <a:rPr lang="en-US" b="1" dirty="0">
                <a:latin typeface="Palatino Linotype" panose="02040502050505030304" pitchFamily="18" charset="0"/>
              </a:rPr>
              <a:t>In-field and Edge-of-Field Water Management </a:t>
            </a:r>
            <a:br>
              <a:rPr lang="en-US" dirty="0">
                <a:latin typeface="Palatino Linotype" panose="02040502050505030304" pitchFamily="18" charset="0"/>
              </a:rPr>
            </a:br>
            <a:r>
              <a:rPr lang="en-US" sz="2700" dirty="0">
                <a:latin typeface="Palatino Linotype" panose="02040502050505030304" pitchFamily="18" charset="0"/>
              </a:rPr>
              <a:t>January 23-24, 2020</a:t>
            </a:r>
          </a:p>
        </p:txBody>
      </p:sp>
      <p:sp useBgFill="1">
        <p:nvSpPr>
          <p:cNvPr id="3" name="Content Placeholder 2">
            <a:extLst>
              <a:ext uri="{FF2B5EF4-FFF2-40B4-BE49-F238E27FC236}">
                <a16:creationId xmlns:a16="http://schemas.microsoft.com/office/drawing/2014/main" id="{753E6C70-5AFB-41F4-98AD-476173923A5B}"/>
              </a:ext>
            </a:extLst>
          </p:cNvPr>
          <p:cNvSpPr>
            <a:spLocks noGrp="1"/>
          </p:cNvSpPr>
          <p:nvPr>
            <p:ph idx="1"/>
          </p:nvPr>
        </p:nvSpPr>
        <p:spPr>
          <a:xfrm>
            <a:off x="602053" y="2017405"/>
            <a:ext cx="11065014" cy="4023360"/>
          </a:xfrm>
        </p:spPr>
        <p:txBody>
          <a:bodyPr>
            <a:noAutofit/>
          </a:bodyPr>
          <a:lstStyle/>
          <a:p>
            <a:r>
              <a:rPr lang="en-US" sz="3600" b="1" dirty="0">
                <a:latin typeface="Palatino Linotype" panose="02040502050505030304" pitchFamily="18" charset="0"/>
              </a:rPr>
              <a:t>Targeted Outcomes:</a:t>
            </a:r>
          </a:p>
          <a:p>
            <a:pPr marL="338138" indent="-338138">
              <a:buFont typeface="Wingdings" panose="05000000000000000000" pitchFamily="2" charset="2"/>
              <a:buChar char="Ø"/>
            </a:pPr>
            <a:r>
              <a:rPr lang="en-US" sz="2600" dirty="0">
                <a:latin typeface="Palatino Linotype" panose="02040502050505030304" pitchFamily="18" charset="0"/>
              </a:rPr>
              <a:t>Facilitate cross-disciplinary discussions among experts committed to advancing regenerative agriculture and water security.</a:t>
            </a:r>
          </a:p>
          <a:p>
            <a:pPr marL="338138" indent="-338138">
              <a:buFont typeface="Wingdings" panose="05000000000000000000" pitchFamily="2" charset="2"/>
              <a:buChar char="Ø"/>
            </a:pPr>
            <a:r>
              <a:rPr lang="en-US" sz="2600" dirty="0">
                <a:latin typeface="Palatino Linotype" panose="02040502050505030304" pitchFamily="18" charset="0"/>
              </a:rPr>
              <a:t>Identify critical information gaps that limit capacity to provide water management guidance across diverse landscapes and under changing climate conditions.</a:t>
            </a:r>
          </a:p>
          <a:p>
            <a:pPr marL="338138" indent="-338138">
              <a:buFont typeface="Wingdings" panose="05000000000000000000" pitchFamily="2" charset="2"/>
              <a:buChar char="Ø"/>
            </a:pPr>
            <a:r>
              <a:rPr lang="en-US" sz="2600" dirty="0">
                <a:latin typeface="Palatino Linotype" panose="02040502050505030304" pitchFamily="18" charset="0"/>
              </a:rPr>
              <a:t>Spark collaborations to address critical information gaps.</a:t>
            </a:r>
          </a:p>
          <a:p>
            <a:pPr marL="338138" indent="-338138">
              <a:buFont typeface="Wingdings" panose="05000000000000000000" pitchFamily="2" charset="2"/>
              <a:buChar char="Ø"/>
            </a:pPr>
            <a:r>
              <a:rPr lang="en-US" sz="2600" dirty="0">
                <a:latin typeface="Palatino Linotype" panose="02040502050505030304" pitchFamily="18" charset="0"/>
              </a:rPr>
              <a:t>New ideas, new friendships.</a:t>
            </a:r>
          </a:p>
          <a:p>
            <a:pPr marL="168275" lvl="0" indent="0">
              <a:buNone/>
            </a:pPr>
            <a:endParaRPr lang="en-US" sz="2600" dirty="0">
              <a:latin typeface="Palatino Linotype" panose="02040502050505030304" pitchFamily="18" charset="0"/>
            </a:endParaRPr>
          </a:p>
        </p:txBody>
      </p:sp>
    </p:spTree>
    <p:extLst>
      <p:ext uri="{BB962C8B-B14F-4D97-AF65-F5344CB8AC3E}">
        <p14:creationId xmlns:p14="http://schemas.microsoft.com/office/powerpoint/2010/main" val="30577419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8FA6A-4991-43A1-AF11-4CF5E8E62EF2}"/>
              </a:ext>
            </a:extLst>
          </p:cNvPr>
          <p:cNvSpPr>
            <a:spLocks noGrp="1"/>
          </p:cNvSpPr>
          <p:nvPr>
            <p:ph type="title"/>
          </p:nvPr>
        </p:nvSpPr>
        <p:spPr/>
        <p:txBody>
          <a:bodyPr/>
          <a:lstStyle/>
          <a:p>
            <a:r>
              <a:rPr lang="en-US" b="1" dirty="0">
                <a:latin typeface="Palatino Linotype" panose="02040502050505030304" pitchFamily="18" charset="0"/>
              </a:rPr>
              <a:t> House Rules:</a:t>
            </a:r>
          </a:p>
        </p:txBody>
      </p:sp>
      <p:sp>
        <p:nvSpPr>
          <p:cNvPr id="3" name="Content Placeholder 2">
            <a:extLst>
              <a:ext uri="{FF2B5EF4-FFF2-40B4-BE49-F238E27FC236}">
                <a16:creationId xmlns:a16="http://schemas.microsoft.com/office/drawing/2014/main" id="{C53688D6-5A56-4BEF-AE9D-FA2F750857EE}"/>
              </a:ext>
            </a:extLst>
          </p:cNvPr>
          <p:cNvSpPr>
            <a:spLocks noGrp="1"/>
          </p:cNvSpPr>
          <p:nvPr>
            <p:ph idx="1"/>
          </p:nvPr>
        </p:nvSpPr>
        <p:spPr/>
        <p:txBody>
          <a:bodyPr>
            <a:normAutofit fontScale="92500" lnSpcReduction="20000"/>
          </a:bodyPr>
          <a:lstStyle/>
          <a:p>
            <a:pPr marL="0" indent="0">
              <a:buNone/>
            </a:pPr>
            <a:r>
              <a:rPr lang="en-US" sz="6000" dirty="0">
                <a:solidFill>
                  <a:srgbClr val="FF0000"/>
                </a:solidFill>
                <a:latin typeface="Palatino Linotype" panose="02040502050505030304" pitchFamily="18" charset="0"/>
              </a:rPr>
              <a:t>X  </a:t>
            </a:r>
            <a:r>
              <a:rPr lang="en-US" dirty="0">
                <a:latin typeface="Palatino Linotype" panose="02040502050505030304" pitchFamily="18" charset="0"/>
              </a:rPr>
              <a:t>“We don’t have enough data.”</a:t>
            </a:r>
          </a:p>
          <a:p>
            <a:pPr marL="1371600" indent="-457200"/>
            <a:r>
              <a:rPr lang="en-US" dirty="0">
                <a:solidFill>
                  <a:srgbClr val="00B050"/>
                </a:solidFill>
                <a:latin typeface="Palatino Linotype" panose="02040502050505030304" pitchFamily="18" charset="0"/>
              </a:rPr>
              <a:t>Share your expectations based on your expert background and experience.</a:t>
            </a:r>
          </a:p>
          <a:p>
            <a:pPr marL="914400" indent="0">
              <a:buNone/>
            </a:pPr>
            <a:endParaRPr lang="en-US" dirty="0">
              <a:solidFill>
                <a:srgbClr val="00B050"/>
              </a:solidFill>
              <a:latin typeface="Palatino Linotype" panose="02040502050505030304" pitchFamily="18" charset="0"/>
            </a:endParaRPr>
          </a:p>
          <a:p>
            <a:pPr marL="0" indent="0">
              <a:buNone/>
            </a:pPr>
            <a:r>
              <a:rPr lang="en-US" sz="6000" dirty="0">
                <a:solidFill>
                  <a:srgbClr val="FF0000"/>
                </a:solidFill>
                <a:latin typeface="Palatino Linotype" panose="02040502050505030304" pitchFamily="18" charset="0"/>
              </a:rPr>
              <a:t>X  </a:t>
            </a:r>
            <a:r>
              <a:rPr lang="en-US" dirty="0">
                <a:latin typeface="Palatino Linotype" panose="02040502050505030304" pitchFamily="18" charset="0"/>
              </a:rPr>
              <a:t>“No, it doesn’t work like that”</a:t>
            </a:r>
          </a:p>
          <a:p>
            <a:pPr marL="914400" indent="0">
              <a:buNone/>
            </a:pPr>
            <a:r>
              <a:rPr lang="en-US" dirty="0">
                <a:latin typeface="Palatino Linotype" panose="02040502050505030304" pitchFamily="18" charset="0"/>
              </a:rPr>
              <a:t>* </a:t>
            </a:r>
            <a:r>
              <a:rPr lang="en-US" dirty="0">
                <a:solidFill>
                  <a:srgbClr val="00B050"/>
                </a:solidFill>
                <a:latin typeface="Palatino Linotype" panose="02040502050505030304" pitchFamily="18" charset="0"/>
              </a:rPr>
              <a:t>Well, it could work like that; OR maybe the system responds like this: _____________</a:t>
            </a:r>
          </a:p>
          <a:p>
            <a:pPr marL="914400" indent="0">
              <a:buNone/>
            </a:pPr>
            <a:endParaRPr lang="en-US" dirty="0">
              <a:solidFill>
                <a:srgbClr val="00B050"/>
              </a:solidFill>
              <a:latin typeface="Palatino Linotype" panose="02040502050505030304" pitchFamily="18" charset="0"/>
            </a:endParaRPr>
          </a:p>
          <a:p>
            <a:pPr marL="0" indent="0">
              <a:buNone/>
            </a:pPr>
            <a:endParaRPr lang="en-US" dirty="0">
              <a:latin typeface="Palatino Linotype" panose="02040502050505030304" pitchFamily="18" charset="0"/>
            </a:endParaRPr>
          </a:p>
        </p:txBody>
      </p:sp>
    </p:spTree>
    <p:extLst>
      <p:ext uri="{BB962C8B-B14F-4D97-AF65-F5344CB8AC3E}">
        <p14:creationId xmlns:p14="http://schemas.microsoft.com/office/powerpoint/2010/main" val="30902219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AC5D1-0189-48C4-A539-5446D06EA105}"/>
              </a:ext>
            </a:extLst>
          </p:cNvPr>
          <p:cNvSpPr>
            <a:spLocks noGrp="1"/>
          </p:cNvSpPr>
          <p:nvPr>
            <p:ph type="ctrTitle"/>
          </p:nvPr>
        </p:nvSpPr>
        <p:spPr>
          <a:xfrm>
            <a:off x="952500" y="576994"/>
            <a:ext cx="10382250" cy="5042756"/>
          </a:xfrm>
        </p:spPr>
        <p:txBody>
          <a:bodyPr>
            <a:normAutofit/>
          </a:bodyPr>
          <a:lstStyle/>
          <a:p>
            <a:r>
              <a:rPr lang="en-US" dirty="0"/>
              <a:t>Group dinner: </a:t>
            </a:r>
            <a:br>
              <a:rPr lang="en-US" dirty="0"/>
            </a:br>
            <a:r>
              <a:rPr lang="en-US" b="1" dirty="0"/>
              <a:t>the wine bar at vintner valley</a:t>
            </a:r>
            <a:br>
              <a:rPr lang="en-US" b="1" dirty="0"/>
            </a:br>
            <a:r>
              <a:rPr lang="en-US" b="1" dirty="0"/>
              <a:t>7pm</a:t>
            </a:r>
            <a:br>
              <a:rPr lang="en-US" b="1" dirty="0"/>
            </a:br>
            <a:r>
              <a:rPr lang="en-US" dirty="0"/>
              <a:t>510 County Route 59/2, Burroughs Street, Morgantown, WV</a:t>
            </a:r>
            <a:br>
              <a:rPr lang="en-US" b="1" dirty="0"/>
            </a:br>
            <a:endParaRPr lang="en-US" b="1" dirty="0"/>
          </a:p>
        </p:txBody>
      </p:sp>
    </p:spTree>
    <p:extLst>
      <p:ext uri="{BB962C8B-B14F-4D97-AF65-F5344CB8AC3E}">
        <p14:creationId xmlns:p14="http://schemas.microsoft.com/office/powerpoint/2010/main" val="42586929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2CB50-1890-4A6B-BB2F-B1EB168AFBDC}"/>
              </a:ext>
            </a:extLst>
          </p:cNvPr>
          <p:cNvSpPr>
            <a:spLocks noGrp="1"/>
          </p:cNvSpPr>
          <p:nvPr>
            <p:ph type="ctrTitle"/>
          </p:nvPr>
        </p:nvSpPr>
        <p:spPr>
          <a:xfrm>
            <a:off x="504825" y="304800"/>
            <a:ext cx="11182350" cy="6248400"/>
          </a:xfrm>
        </p:spPr>
        <p:txBody>
          <a:bodyPr>
            <a:normAutofit fontScale="90000"/>
          </a:bodyPr>
          <a:lstStyle/>
          <a:p>
            <a:pPr>
              <a:lnSpc>
                <a:spcPct val="100000"/>
              </a:lnSpc>
            </a:pPr>
            <a:br>
              <a:rPr lang="en-US" sz="3100" dirty="0"/>
            </a:br>
            <a:br>
              <a:rPr lang="en-US" sz="3100" dirty="0"/>
            </a:br>
            <a:r>
              <a:rPr lang="en-US" sz="3100" dirty="0"/>
              <a:t>Other Recommended dinner options</a:t>
            </a:r>
            <a:br>
              <a:rPr lang="en-US" sz="3100" dirty="0"/>
            </a:br>
            <a:br>
              <a:rPr lang="en-US" sz="3100" dirty="0"/>
            </a:br>
            <a:r>
              <a:rPr lang="en-US" sz="3100" b="1" dirty="0"/>
              <a:t>Within walking distance</a:t>
            </a:r>
            <a:br>
              <a:rPr lang="en-US" sz="3100" dirty="0"/>
            </a:br>
            <a:r>
              <a:rPr lang="en-US" sz="3100" dirty="0"/>
              <a:t>Los Mariachis</a:t>
            </a:r>
            <a:br>
              <a:rPr lang="en-US" sz="3100" dirty="0"/>
            </a:br>
            <a:r>
              <a:rPr lang="en-US" sz="3100" dirty="0" err="1"/>
              <a:t>Puglioni’s</a:t>
            </a:r>
            <a:r>
              <a:rPr lang="en-US" sz="3100" dirty="0"/>
              <a:t> Pasta and Pizza</a:t>
            </a:r>
            <a:br>
              <a:rPr lang="en-US" sz="3100" dirty="0"/>
            </a:br>
            <a:r>
              <a:rPr lang="en-US" sz="3100" dirty="0"/>
              <a:t>Ogawa </a:t>
            </a:r>
            <a:r>
              <a:rPr lang="en-US" sz="3100" dirty="0" err="1"/>
              <a:t>Japenese</a:t>
            </a:r>
            <a:r>
              <a:rPr lang="en-US" sz="3100" dirty="0"/>
              <a:t> Restaurant</a:t>
            </a:r>
            <a:br>
              <a:rPr lang="en-US" sz="3100" dirty="0"/>
            </a:br>
            <a:r>
              <a:rPr lang="en-US" sz="3100" dirty="0"/>
              <a:t>Ta-</a:t>
            </a:r>
            <a:r>
              <a:rPr lang="en-US" sz="3100" dirty="0" err="1"/>
              <a:t>Khrai</a:t>
            </a:r>
            <a:r>
              <a:rPr lang="en-US" sz="3100" dirty="0"/>
              <a:t> Thai Café</a:t>
            </a:r>
            <a:br>
              <a:rPr lang="en-US" sz="3100" dirty="0"/>
            </a:br>
            <a:br>
              <a:rPr lang="en-US" sz="3100" dirty="0"/>
            </a:br>
            <a:r>
              <a:rPr lang="en-US" sz="3100" b="1" dirty="0"/>
              <a:t>downtown area (Drive)</a:t>
            </a:r>
            <a:br>
              <a:rPr lang="en-US" sz="3100" dirty="0"/>
            </a:br>
            <a:r>
              <a:rPr lang="en-US" sz="3100" dirty="0"/>
              <a:t>Mountain State Brewing</a:t>
            </a:r>
            <a:br>
              <a:rPr lang="en-US" sz="3100" dirty="0"/>
            </a:br>
            <a:r>
              <a:rPr lang="en-US" sz="3100" dirty="0" err="1"/>
              <a:t>Olivarios</a:t>
            </a:r>
            <a:br>
              <a:rPr lang="en-US" sz="3100" dirty="0"/>
            </a:br>
            <a:r>
              <a:rPr lang="en-US" sz="3100" dirty="0"/>
              <a:t>Table 9</a:t>
            </a:r>
            <a:br>
              <a:rPr lang="en-US" sz="3100" dirty="0"/>
            </a:br>
            <a:r>
              <a:rPr lang="en-US" sz="3100" dirty="0"/>
              <a:t>Sargasso</a:t>
            </a:r>
            <a:br>
              <a:rPr lang="en-US" sz="3100" dirty="0"/>
            </a:br>
            <a:r>
              <a:rPr lang="en-US" sz="3100" dirty="0"/>
              <a:t>Tin 202</a:t>
            </a:r>
            <a:br>
              <a:rPr lang="en-US" sz="8900" dirty="0"/>
            </a:br>
            <a:br>
              <a:rPr lang="en-US" dirty="0"/>
            </a:br>
            <a:r>
              <a:rPr lang="en-US" dirty="0"/>
              <a:t> </a:t>
            </a:r>
          </a:p>
        </p:txBody>
      </p:sp>
    </p:spTree>
    <p:extLst>
      <p:ext uri="{BB962C8B-B14F-4D97-AF65-F5344CB8AC3E}">
        <p14:creationId xmlns:p14="http://schemas.microsoft.com/office/powerpoint/2010/main" val="12775046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A5AF25-BD33-45D4-9107-D37788B79AB6}"/>
              </a:ext>
            </a:extLst>
          </p:cNvPr>
          <p:cNvPicPr>
            <a:picLocks noChangeAspect="1"/>
          </p:cNvPicPr>
          <p:nvPr/>
        </p:nvPicPr>
        <p:blipFill rotWithShape="1">
          <a:blip r:embed="rId2"/>
          <a:srcRect l="953" t="8947" r="3012" b="15790"/>
          <a:stretch/>
        </p:blipFill>
        <p:spPr>
          <a:xfrm>
            <a:off x="108285" y="99950"/>
            <a:ext cx="9444790" cy="5552771"/>
          </a:xfrm>
          <a:prstGeom prst="rect">
            <a:avLst/>
          </a:prstGeom>
        </p:spPr>
      </p:pic>
      <p:pic>
        <p:nvPicPr>
          <p:cNvPr id="6" name="Picture 5" descr="A large brick building with a grassy field&#10;&#10;Description automatically generated">
            <a:extLst>
              <a:ext uri="{FF2B5EF4-FFF2-40B4-BE49-F238E27FC236}">
                <a16:creationId xmlns:a16="http://schemas.microsoft.com/office/drawing/2014/main" id="{AB2DFC88-E362-4813-92E2-5F8B42E5DB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28811" y="3745878"/>
            <a:ext cx="4154904" cy="3112121"/>
          </a:xfrm>
          <a:prstGeom prst="rect">
            <a:avLst/>
          </a:prstGeom>
        </p:spPr>
      </p:pic>
      <p:sp>
        <p:nvSpPr>
          <p:cNvPr id="7" name="Rectangle 6">
            <a:extLst>
              <a:ext uri="{FF2B5EF4-FFF2-40B4-BE49-F238E27FC236}">
                <a16:creationId xmlns:a16="http://schemas.microsoft.com/office/drawing/2014/main" id="{D0698CAF-997F-49EF-B5B9-A40CCBC93AFB}"/>
              </a:ext>
            </a:extLst>
          </p:cNvPr>
          <p:cNvSpPr/>
          <p:nvPr/>
        </p:nvSpPr>
        <p:spPr>
          <a:xfrm>
            <a:off x="8173452" y="3899918"/>
            <a:ext cx="3910263" cy="646331"/>
          </a:xfrm>
          <a:prstGeom prst="rect">
            <a:avLst/>
          </a:prstGeom>
        </p:spPr>
        <p:txBody>
          <a:bodyPr wrap="square">
            <a:spAutoFit/>
          </a:bodyPr>
          <a:lstStyle/>
          <a:p>
            <a:r>
              <a:rPr lang="en-US" b="1" dirty="0"/>
              <a:t>West Virginia University</a:t>
            </a:r>
            <a:br>
              <a:rPr lang="en-US" b="1" dirty="0"/>
            </a:br>
            <a:r>
              <a:rPr lang="en-US" b="1" dirty="0"/>
              <a:t>Erickson Alumni Center</a:t>
            </a:r>
          </a:p>
        </p:txBody>
      </p:sp>
      <p:pic>
        <p:nvPicPr>
          <p:cNvPr id="2" name="Picture 1">
            <a:extLst>
              <a:ext uri="{FF2B5EF4-FFF2-40B4-BE49-F238E27FC236}">
                <a16:creationId xmlns:a16="http://schemas.microsoft.com/office/drawing/2014/main" id="{8D9E7CC0-AC13-44FD-A5AB-B21A9AA0BBAA}"/>
              </a:ext>
            </a:extLst>
          </p:cNvPr>
          <p:cNvPicPr>
            <a:picLocks noChangeAspect="1"/>
          </p:cNvPicPr>
          <p:nvPr/>
        </p:nvPicPr>
        <p:blipFill rotWithShape="1">
          <a:blip r:embed="rId4"/>
          <a:srcRect b="12860"/>
          <a:stretch/>
        </p:blipFill>
        <p:spPr>
          <a:xfrm>
            <a:off x="483212" y="2313660"/>
            <a:ext cx="6096528" cy="2988278"/>
          </a:xfrm>
          <a:prstGeom prst="rect">
            <a:avLst/>
          </a:prstGeom>
        </p:spPr>
      </p:pic>
    </p:spTree>
    <p:extLst>
      <p:ext uri="{BB962C8B-B14F-4D97-AF65-F5344CB8AC3E}">
        <p14:creationId xmlns:p14="http://schemas.microsoft.com/office/powerpoint/2010/main" val="3277329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Image result for the nature conservancy logo">
            <a:extLst>
              <a:ext uri="{FF2B5EF4-FFF2-40B4-BE49-F238E27FC236}">
                <a16:creationId xmlns:a16="http://schemas.microsoft.com/office/drawing/2014/main" id="{E365B0C0-8F9F-4254-B90E-9DF959BD1553}"/>
              </a:ext>
            </a:extLst>
          </p:cNvPr>
          <p:cNvPicPr/>
          <p:nvPr/>
        </p:nvPicPr>
        <p:blipFill rotWithShape="1">
          <a:blip r:embed="rId2" r:link="rId3">
            <a:extLst>
              <a:ext uri="{28A0092B-C50C-407E-A947-70E740481C1C}">
                <a14:useLocalDpi xmlns:a14="http://schemas.microsoft.com/office/drawing/2010/main" val="0"/>
              </a:ext>
            </a:extLst>
          </a:blip>
          <a:srcRect t="36543" b="30804"/>
          <a:stretch>
            <a:fillRect/>
          </a:stretch>
        </p:blipFill>
        <p:spPr bwMode="auto">
          <a:xfrm>
            <a:off x="8276277" y="0"/>
            <a:ext cx="4114801" cy="1275348"/>
          </a:xfrm>
          <a:prstGeom prst="rect">
            <a:avLst/>
          </a:prstGeom>
          <a:noFill/>
          <a:ln>
            <a:noFill/>
          </a:ln>
        </p:spPr>
      </p:pic>
      <p:pic>
        <p:nvPicPr>
          <p:cNvPr id="4" name="Picture 3">
            <a:extLst>
              <a:ext uri="{FF2B5EF4-FFF2-40B4-BE49-F238E27FC236}">
                <a16:creationId xmlns:a16="http://schemas.microsoft.com/office/drawing/2014/main" id="{09477957-F4BA-4DDD-AEF1-D22603906E46}"/>
              </a:ext>
            </a:extLst>
          </p:cNvPr>
          <p:cNvPicPr>
            <a:picLocks noChangeAspect="1"/>
          </p:cNvPicPr>
          <p:nvPr/>
        </p:nvPicPr>
        <p:blipFill>
          <a:blip r:embed="rId4"/>
          <a:stretch>
            <a:fillRect/>
          </a:stretch>
        </p:blipFill>
        <p:spPr>
          <a:xfrm>
            <a:off x="29521" y="93455"/>
            <a:ext cx="5312499" cy="3984375"/>
          </a:xfrm>
          <a:prstGeom prst="rect">
            <a:avLst/>
          </a:prstGeom>
        </p:spPr>
      </p:pic>
      <p:pic>
        <p:nvPicPr>
          <p:cNvPr id="5" name="Picture 4">
            <a:extLst>
              <a:ext uri="{FF2B5EF4-FFF2-40B4-BE49-F238E27FC236}">
                <a16:creationId xmlns:a16="http://schemas.microsoft.com/office/drawing/2014/main" id="{DDFF5D56-7B5E-48ED-A13A-A8D58415FAE1}"/>
              </a:ext>
            </a:extLst>
          </p:cNvPr>
          <p:cNvPicPr>
            <a:picLocks noChangeAspect="1"/>
          </p:cNvPicPr>
          <p:nvPr/>
        </p:nvPicPr>
        <p:blipFill>
          <a:blip r:embed="rId5"/>
          <a:stretch>
            <a:fillRect/>
          </a:stretch>
        </p:blipFill>
        <p:spPr>
          <a:xfrm>
            <a:off x="5594684" y="1243102"/>
            <a:ext cx="2914530" cy="2185898"/>
          </a:xfrm>
          <a:prstGeom prst="rect">
            <a:avLst/>
          </a:prstGeom>
        </p:spPr>
      </p:pic>
      <p:pic>
        <p:nvPicPr>
          <p:cNvPr id="9" name="Picture 8">
            <a:extLst>
              <a:ext uri="{FF2B5EF4-FFF2-40B4-BE49-F238E27FC236}">
                <a16:creationId xmlns:a16="http://schemas.microsoft.com/office/drawing/2014/main" id="{1FC794C3-1E17-4B8A-9F55-37E8861EB040}"/>
              </a:ext>
            </a:extLst>
          </p:cNvPr>
          <p:cNvPicPr>
            <a:picLocks noChangeAspect="1"/>
          </p:cNvPicPr>
          <p:nvPr/>
        </p:nvPicPr>
        <p:blipFill>
          <a:blip r:embed="rId6"/>
          <a:stretch>
            <a:fillRect/>
          </a:stretch>
        </p:blipFill>
        <p:spPr>
          <a:xfrm>
            <a:off x="1488892" y="4264855"/>
            <a:ext cx="3277224" cy="2457918"/>
          </a:xfrm>
          <a:prstGeom prst="rect">
            <a:avLst/>
          </a:prstGeom>
        </p:spPr>
      </p:pic>
      <p:pic>
        <p:nvPicPr>
          <p:cNvPr id="10" name="Picture 9">
            <a:extLst>
              <a:ext uri="{FF2B5EF4-FFF2-40B4-BE49-F238E27FC236}">
                <a16:creationId xmlns:a16="http://schemas.microsoft.com/office/drawing/2014/main" id="{EA479621-1409-40C1-8AB0-4E8EE2A145D7}"/>
              </a:ext>
            </a:extLst>
          </p:cNvPr>
          <p:cNvPicPr>
            <a:picLocks noChangeAspect="1"/>
          </p:cNvPicPr>
          <p:nvPr/>
        </p:nvPicPr>
        <p:blipFill>
          <a:blip r:embed="rId7"/>
          <a:stretch>
            <a:fillRect/>
          </a:stretch>
        </p:blipFill>
        <p:spPr>
          <a:xfrm>
            <a:off x="4999053" y="4264855"/>
            <a:ext cx="3277224" cy="2457918"/>
          </a:xfrm>
          <a:prstGeom prst="rect">
            <a:avLst/>
          </a:prstGeom>
        </p:spPr>
      </p:pic>
      <p:pic>
        <p:nvPicPr>
          <p:cNvPr id="11" name="Picture 10">
            <a:extLst>
              <a:ext uri="{FF2B5EF4-FFF2-40B4-BE49-F238E27FC236}">
                <a16:creationId xmlns:a16="http://schemas.microsoft.com/office/drawing/2014/main" id="{89D83BC7-6989-46C5-87D6-8631D314F188}"/>
              </a:ext>
            </a:extLst>
          </p:cNvPr>
          <p:cNvPicPr>
            <a:picLocks noChangeAspect="1"/>
          </p:cNvPicPr>
          <p:nvPr/>
        </p:nvPicPr>
        <p:blipFill>
          <a:blip r:embed="rId8"/>
          <a:stretch>
            <a:fillRect/>
          </a:stretch>
        </p:blipFill>
        <p:spPr>
          <a:xfrm>
            <a:off x="8509214" y="4264855"/>
            <a:ext cx="3277224" cy="2457918"/>
          </a:xfrm>
          <a:prstGeom prst="rect">
            <a:avLst/>
          </a:prstGeom>
        </p:spPr>
      </p:pic>
    </p:spTree>
    <p:extLst>
      <p:ext uri="{BB962C8B-B14F-4D97-AF65-F5344CB8AC3E}">
        <p14:creationId xmlns:p14="http://schemas.microsoft.com/office/powerpoint/2010/main" val="32821621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DC1A4-84D1-4102-91F7-335DE336B977}"/>
              </a:ext>
            </a:extLst>
          </p:cNvPr>
          <p:cNvSpPr>
            <a:spLocks noGrp="1"/>
          </p:cNvSpPr>
          <p:nvPr>
            <p:ph type="title"/>
          </p:nvPr>
        </p:nvSpPr>
        <p:spPr>
          <a:xfrm>
            <a:off x="1096231" y="421667"/>
            <a:ext cx="10863213" cy="973877"/>
          </a:xfrm>
        </p:spPr>
        <p:txBody>
          <a:bodyPr>
            <a:noAutofit/>
          </a:bodyPr>
          <a:lstStyle/>
          <a:p>
            <a:r>
              <a:rPr lang="en-US" sz="3600" b="1" dirty="0"/>
              <a:t>	</a:t>
            </a:r>
            <a:br>
              <a:rPr lang="en-US" sz="3600" b="1" dirty="0"/>
            </a:br>
            <a:r>
              <a:rPr lang="en-US" sz="3600" b="1" dirty="0"/>
              <a:t>	CBP’s Scientific &amp; Technical Advisory Committee (STAC)</a:t>
            </a:r>
          </a:p>
        </p:txBody>
      </p:sp>
      <p:pic>
        <p:nvPicPr>
          <p:cNvPr id="9" name="Picture 8" descr="A screenshot of a cell phone&#10;&#10;Description automatically generated">
            <a:extLst>
              <a:ext uri="{FF2B5EF4-FFF2-40B4-BE49-F238E27FC236}">
                <a16:creationId xmlns:a16="http://schemas.microsoft.com/office/drawing/2014/main" id="{F2E42D3B-DD7E-405C-835A-3C9F9B57E3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54123" y="2473511"/>
            <a:ext cx="4933055" cy="3137499"/>
          </a:xfrm>
          <a:prstGeom prst="rect">
            <a:avLst/>
          </a:prstGeom>
        </p:spPr>
      </p:pic>
      <p:pic>
        <p:nvPicPr>
          <p:cNvPr id="11" name="Picture 10" descr="A close up of a map&#10;&#10;Description automatically generated">
            <a:extLst>
              <a:ext uri="{FF2B5EF4-FFF2-40B4-BE49-F238E27FC236}">
                <a16:creationId xmlns:a16="http://schemas.microsoft.com/office/drawing/2014/main" id="{C197D7D0-9DDF-453A-92FA-368F899797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383" y="1847701"/>
            <a:ext cx="3345365" cy="4389120"/>
          </a:xfrm>
          <a:prstGeom prst="rect">
            <a:avLst/>
          </a:prstGeom>
        </p:spPr>
      </p:pic>
      <p:pic>
        <p:nvPicPr>
          <p:cNvPr id="13" name="Picture 12" descr="A group of people standing in front of a crowd posing for the camera&#10;&#10;Description automatically generated">
            <a:extLst>
              <a:ext uri="{FF2B5EF4-FFF2-40B4-BE49-F238E27FC236}">
                <a16:creationId xmlns:a16="http://schemas.microsoft.com/office/drawing/2014/main" id="{336091FE-DE9C-4750-9245-D92DD69FFC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8518" y="1915462"/>
            <a:ext cx="2419387" cy="1612925"/>
          </a:xfrm>
          <a:prstGeom prst="rect">
            <a:avLst/>
          </a:prstGeom>
        </p:spPr>
      </p:pic>
      <p:sp>
        <p:nvSpPr>
          <p:cNvPr id="14" name="Rectangle 13">
            <a:extLst>
              <a:ext uri="{FF2B5EF4-FFF2-40B4-BE49-F238E27FC236}">
                <a16:creationId xmlns:a16="http://schemas.microsoft.com/office/drawing/2014/main" id="{94FC3377-727F-4378-9495-F8063FBC3C35}"/>
              </a:ext>
            </a:extLst>
          </p:cNvPr>
          <p:cNvSpPr/>
          <p:nvPr/>
        </p:nvSpPr>
        <p:spPr>
          <a:xfrm>
            <a:off x="3457936" y="3528387"/>
            <a:ext cx="3415679" cy="2708434"/>
          </a:xfrm>
          <a:prstGeom prst="rect">
            <a:avLst/>
          </a:prstGeom>
        </p:spPr>
        <p:txBody>
          <a:bodyPr wrap="square">
            <a:spAutoFit/>
          </a:bodyPr>
          <a:lstStyle/>
          <a:p>
            <a:r>
              <a:rPr lang="en-US" sz="1600" b="1" dirty="0"/>
              <a:t>Chesapeake Bay Program Partnership:</a:t>
            </a:r>
          </a:p>
          <a:p>
            <a:pPr marL="119063" indent="-58738">
              <a:buFont typeface="Arial" panose="020B0604020202020204" pitchFamily="34" charset="0"/>
              <a:buChar char="•"/>
            </a:pPr>
            <a:r>
              <a:rPr lang="en-US" sz="1400" dirty="0"/>
              <a:t>Nearly 40 state agencies and programs in DE, MD, NY, PA, VA, WV and the DC</a:t>
            </a:r>
          </a:p>
          <a:p>
            <a:pPr marL="119063" indent="-58738">
              <a:buFont typeface="Arial" panose="020B0604020202020204" pitchFamily="34" charset="0"/>
              <a:buChar char="•"/>
            </a:pPr>
            <a:r>
              <a:rPr lang="en-US" sz="1400" dirty="0"/>
              <a:t>19 federal agencies</a:t>
            </a:r>
          </a:p>
          <a:p>
            <a:pPr marL="119063" indent="-58738">
              <a:buFont typeface="Arial" panose="020B0604020202020204" pitchFamily="34" charset="0"/>
              <a:buChar char="•"/>
            </a:pPr>
            <a:r>
              <a:rPr lang="en-US" sz="1400" dirty="0"/>
              <a:t>Approximately 1,800 local governments, represented through the Local Government Advisory Committee</a:t>
            </a:r>
          </a:p>
          <a:p>
            <a:pPr marL="119063" indent="-58738">
              <a:buFont typeface="Arial" panose="020B0604020202020204" pitchFamily="34" charset="0"/>
              <a:buChar char="•"/>
            </a:pPr>
            <a:r>
              <a:rPr lang="en-US" sz="1400" b="1" i="1" dirty="0"/>
              <a:t>More than 20 academic institutions, represented through the Scientific and Technical Advisory Committee</a:t>
            </a:r>
          </a:p>
          <a:p>
            <a:pPr marL="119063" indent="-58738">
              <a:buFont typeface="Arial" panose="020B0604020202020204" pitchFamily="34" charset="0"/>
              <a:buChar char="•"/>
            </a:pPr>
            <a:r>
              <a:rPr lang="en-US" sz="1400" dirty="0"/>
              <a:t>More than 60 NGO’s, including businesses, non-profits and advocacy groups</a:t>
            </a:r>
          </a:p>
        </p:txBody>
      </p:sp>
      <p:sp>
        <p:nvSpPr>
          <p:cNvPr id="15" name="Rectangle 14">
            <a:extLst>
              <a:ext uri="{FF2B5EF4-FFF2-40B4-BE49-F238E27FC236}">
                <a16:creationId xmlns:a16="http://schemas.microsoft.com/office/drawing/2014/main" id="{5BF826A5-E345-41A3-96BF-05438DD0D8BB}"/>
              </a:ext>
            </a:extLst>
          </p:cNvPr>
          <p:cNvSpPr/>
          <p:nvPr/>
        </p:nvSpPr>
        <p:spPr>
          <a:xfrm>
            <a:off x="3410373" y="1847701"/>
            <a:ext cx="3415679" cy="438912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945E83E-BF75-4033-8A8F-E3CEB881234B}"/>
              </a:ext>
            </a:extLst>
          </p:cNvPr>
          <p:cNvSpPr/>
          <p:nvPr/>
        </p:nvSpPr>
        <p:spPr>
          <a:xfrm>
            <a:off x="71938" y="1915462"/>
            <a:ext cx="3207094" cy="4321359"/>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A81EDA5-6740-4CFB-8557-AA50FD2022D9}"/>
              </a:ext>
            </a:extLst>
          </p:cNvPr>
          <p:cNvSpPr/>
          <p:nvPr/>
        </p:nvSpPr>
        <p:spPr>
          <a:xfrm>
            <a:off x="6917625" y="1847701"/>
            <a:ext cx="5206053" cy="438912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40A41FD5-EFD6-4EA0-BAB6-DDE26DBD746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2556" y="214374"/>
            <a:ext cx="1371976" cy="1496702"/>
          </a:xfrm>
          <a:prstGeom prst="rect">
            <a:avLst/>
          </a:prstGeom>
        </p:spPr>
      </p:pic>
      <p:sp>
        <p:nvSpPr>
          <p:cNvPr id="16" name="Oval 15">
            <a:extLst>
              <a:ext uri="{FF2B5EF4-FFF2-40B4-BE49-F238E27FC236}">
                <a16:creationId xmlns:a16="http://schemas.microsoft.com/office/drawing/2014/main" id="{1EDFEDEB-057F-486A-88CB-5375BC5C6C49}"/>
              </a:ext>
            </a:extLst>
          </p:cNvPr>
          <p:cNvSpPr/>
          <p:nvPr/>
        </p:nvSpPr>
        <p:spPr>
          <a:xfrm>
            <a:off x="7010113" y="3816626"/>
            <a:ext cx="1060461" cy="695739"/>
          </a:xfrm>
          <a:prstGeom prst="ellipse">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29893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365F79C5-2323-47B9-9FE9-A5AA4D8AEF25}"/>
              </a:ext>
            </a:extLst>
          </p:cNvPr>
          <p:cNvSpPr>
            <a:spLocks noGrp="1"/>
          </p:cNvSpPr>
          <p:nvPr>
            <p:ph idx="1"/>
          </p:nvPr>
        </p:nvSpPr>
        <p:spPr>
          <a:xfrm>
            <a:off x="-26429" y="1838738"/>
            <a:ext cx="5933945" cy="3818133"/>
          </a:xfrm>
        </p:spPr>
        <p:txBody>
          <a:bodyPr>
            <a:normAutofit/>
          </a:bodyPr>
          <a:lstStyle/>
          <a:p>
            <a:pPr marL="90488" indent="371475"/>
            <a:r>
              <a:rPr lang="en-US" sz="2800" b="1" dirty="0">
                <a:solidFill>
                  <a:schemeClr val="tx1">
                    <a:lumMod val="50000"/>
                    <a:lumOff val="50000"/>
                  </a:schemeClr>
                </a:solidFill>
                <a:latin typeface="Palatino Linotype" panose="02040502050505030304" pitchFamily="18" charset="0"/>
              </a:rPr>
              <a:t>Workshop Steering Committee:</a:t>
            </a:r>
          </a:p>
          <a:p>
            <a:pPr marL="90488" indent="371475"/>
            <a:endParaRPr lang="en-US" sz="2800" dirty="0">
              <a:solidFill>
                <a:schemeClr val="tx1">
                  <a:lumMod val="50000"/>
                  <a:lumOff val="50000"/>
                </a:schemeClr>
              </a:solidFill>
              <a:latin typeface="Palatino Linotype" panose="02040502050505030304" pitchFamily="18" charset="0"/>
            </a:endParaRPr>
          </a:p>
        </p:txBody>
      </p:sp>
      <p:sp>
        <p:nvSpPr>
          <p:cNvPr id="7" name="Title 6">
            <a:extLst>
              <a:ext uri="{FF2B5EF4-FFF2-40B4-BE49-F238E27FC236}">
                <a16:creationId xmlns:a16="http://schemas.microsoft.com/office/drawing/2014/main" id="{E6F21073-DAA2-4800-98CF-0A7F962523B0}"/>
              </a:ext>
            </a:extLst>
          </p:cNvPr>
          <p:cNvSpPr txBox="1">
            <a:spLocks noGrp="1"/>
          </p:cNvSpPr>
          <p:nvPr>
            <p:ph type="title"/>
          </p:nvPr>
        </p:nvSpPr>
        <p:spPr>
          <a:xfrm>
            <a:off x="1097280" y="205470"/>
            <a:ext cx="10058400" cy="120032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344068"/>
                </a:solidFill>
                <a:effectLst/>
                <a:uLnTx/>
                <a:uFillTx/>
                <a:latin typeface="Palatino Linotype" panose="02040502050505030304" pitchFamily="18" charset="0"/>
                <a:ea typeface="+mn-ea"/>
                <a:cs typeface="Arial" panose="020B0604020202020204" pitchFamily="34" charset="0"/>
              </a:rPr>
              <a:t>Linking Soil and Watershed Health to In-Field and Edge-of-Field Water Management</a:t>
            </a:r>
            <a:endParaRPr kumimoji="0" lang="en-US" sz="36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Arial" panose="020B0604020202020204" pitchFamily="34" charset="0"/>
            </a:endParaRPr>
          </a:p>
        </p:txBody>
      </p:sp>
      <p:pic>
        <p:nvPicPr>
          <p:cNvPr id="5" name="Picture 4" descr="A person smiling for the camera&#10;&#10;Description automatically generated">
            <a:extLst>
              <a:ext uri="{FF2B5EF4-FFF2-40B4-BE49-F238E27FC236}">
                <a16:creationId xmlns:a16="http://schemas.microsoft.com/office/drawing/2014/main" id="{4132DEF1-22ED-4F15-AB5D-83D8CAD4DF0F}"/>
              </a:ext>
            </a:extLst>
          </p:cNvPr>
          <p:cNvPicPr>
            <a:picLocks noChangeAspect="1"/>
          </p:cNvPicPr>
          <p:nvPr/>
        </p:nvPicPr>
        <p:blipFill rotWithShape="1">
          <a:blip r:embed="rId2">
            <a:extLst>
              <a:ext uri="{28A0092B-C50C-407E-A947-70E740481C1C}">
                <a14:useLocalDpi xmlns:a14="http://schemas.microsoft.com/office/drawing/2010/main" val="0"/>
              </a:ext>
            </a:extLst>
          </a:blip>
          <a:srcRect l="6049"/>
          <a:stretch/>
        </p:blipFill>
        <p:spPr>
          <a:xfrm>
            <a:off x="506424" y="2444646"/>
            <a:ext cx="1395386" cy="1554480"/>
          </a:xfrm>
          <a:prstGeom prst="rect">
            <a:avLst/>
          </a:prstGeom>
        </p:spPr>
      </p:pic>
      <p:pic>
        <p:nvPicPr>
          <p:cNvPr id="1026" name="Picture 2" descr="Image result for jane frankenberger">
            <a:extLst>
              <a:ext uri="{FF2B5EF4-FFF2-40B4-BE49-F238E27FC236}">
                <a16:creationId xmlns:a16="http://schemas.microsoft.com/office/drawing/2014/main" id="{CAA52382-1207-4386-B709-8BC12137E3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8234" y="2467752"/>
            <a:ext cx="1165860" cy="155448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matthew earhart stroud research">
            <a:extLst>
              <a:ext uri="{FF2B5EF4-FFF2-40B4-BE49-F238E27FC236}">
                <a16:creationId xmlns:a16="http://schemas.microsoft.com/office/drawing/2014/main" id="{23954D4E-E981-4BFD-BC17-1CD93BCF40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671" y="4667153"/>
            <a:ext cx="1554480" cy="155448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amy jacobs">
            <a:extLst>
              <a:ext uri="{FF2B5EF4-FFF2-40B4-BE49-F238E27FC236}">
                <a16:creationId xmlns:a16="http://schemas.microsoft.com/office/drawing/2014/main" id="{3B2B1D9A-A808-4F24-84A5-44C3C9FA69E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31412" y="4634129"/>
            <a:ext cx="1554480" cy="155448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group of people posing for the camera&#10;&#10;Description automatically generated">
            <a:extLst>
              <a:ext uri="{FF2B5EF4-FFF2-40B4-BE49-F238E27FC236}">
                <a16:creationId xmlns:a16="http://schemas.microsoft.com/office/drawing/2014/main" id="{4427E137-0C4A-4374-A5A5-DB6E25BCDE1D}"/>
              </a:ext>
            </a:extLst>
          </p:cNvPr>
          <p:cNvPicPr>
            <a:picLocks noChangeAspect="1"/>
          </p:cNvPicPr>
          <p:nvPr/>
        </p:nvPicPr>
        <p:blipFill rotWithShape="1">
          <a:blip r:embed="rId6">
            <a:extLst>
              <a:ext uri="{28A0092B-C50C-407E-A947-70E740481C1C}">
                <a14:useLocalDpi xmlns:a14="http://schemas.microsoft.com/office/drawing/2010/main" val="0"/>
              </a:ext>
            </a:extLst>
          </a:blip>
          <a:srcRect l="73053" t="5675" r="2895" b="62172"/>
          <a:stretch/>
        </p:blipFill>
        <p:spPr>
          <a:xfrm>
            <a:off x="4156607" y="4634129"/>
            <a:ext cx="1691422" cy="1554480"/>
          </a:xfrm>
          <a:prstGeom prst="rect">
            <a:avLst/>
          </a:prstGeom>
        </p:spPr>
      </p:pic>
      <p:pic>
        <p:nvPicPr>
          <p:cNvPr id="1034" name="Picture 10" descr="Image result for annabelle harvey stac">
            <a:extLst>
              <a:ext uri="{FF2B5EF4-FFF2-40B4-BE49-F238E27FC236}">
                <a16:creationId xmlns:a16="http://schemas.microsoft.com/office/drawing/2014/main" id="{02AB423B-E942-4707-B305-114D0EAA477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10690" y="4584264"/>
            <a:ext cx="1595297" cy="156015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person smiling for the camera&#10;&#10;Description automatically generated">
            <a:extLst>
              <a:ext uri="{FF2B5EF4-FFF2-40B4-BE49-F238E27FC236}">
                <a16:creationId xmlns:a16="http://schemas.microsoft.com/office/drawing/2014/main" id="{33F40C89-C740-417C-8152-0B61CD4B8F5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131099" y="2516227"/>
            <a:ext cx="1554480" cy="1554480"/>
          </a:xfrm>
          <a:prstGeom prst="rect">
            <a:avLst/>
          </a:prstGeom>
        </p:spPr>
      </p:pic>
      <p:pic>
        <p:nvPicPr>
          <p:cNvPr id="13" name="Picture 12" descr="A person standing in front of a window&#10;&#10;Description automatically generated">
            <a:extLst>
              <a:ext uri="{FF2B5EF4-FFF2-40B4-BE49-F238E27FC236}">
                <a16:creationId xmlns:a16="http://schemas.microsoft.com/office/drawing/2014/main" id="{88F8D1F1-A3A9-4787-9FCA-A36762679253}"/>
              </a:ext>
            </a:extLst>
          </p:cNvPr>
          <p:cNvPicPr>
            <a:picLocks noChangeAspect="1"/>
          </p:cNvPicPr>
          <p:nvPr/>
        </p:nvPicPr>
        <p:blipFill rotWithShape="1">
          <a:blip r:embed="rId9">
            <a:extLst>
              <a:ext uri="{28A0092B-C50C-407E-A947-70E740481C1C}">
                <a14:useLocalDpi xmlns:a14="http://schemas.microsoft.com/office/drawing/2010/main" val="0"/>
              </a:ext>
            </a:extLst>
          </a:blip>
          <a:srcRect l="10465" t="6830" r="7540" b="35007"/>
          <a:stretch/>
        </p:blipFill>
        <p:spPr>
          <a:xfrm>
            <a:off x="8063658" y="4584264"/>
            <a:ext cx="1428755" cy="1522612"/>
          </a:xfrm>
          <a:prstGeom prst="rect">
            <a:avLst/>
          </a:prstGeom>
        </p:spPr>
      </p:pic>
      <p:pic>
        <p:nvPicPr>
          <p:cNvPr id="15" name="Picture 14" descr="A person smiling for the camera&#10;&#10;Description automatically generated">
            <a:extLst>
              <a:ext uri="{FF2B5EF4-FFF2-40B4-BE49-F238E27FC236}">
                <a16:creationId xmlns:a16="http://schemas.microsoft.com/office/drawing/2014/main" id="{A9D79F98-BAA3-4E18-B222-5BE47F0D89E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70195" y="2511804"/>
            <a:ext cx="1554480" cy="1554480"/>
          </a:xfrm>
          <a:prstGeom prst="rect">
            <a:avLst/>
          </a:prstGeom>
        </p:spPr>
      </p:pic>
      <p:pic>
        <p:nvPicPr>
          <p:cNvPr id="1036" name="Picture 12" descr="Image result for amy collick">
            <a:extLst>
              <a:ext uri="{FF2B5EF4-FFF2-40B4-BE49-F238E27FC236}">
                <a16:creationId xmlns:a16="http://schemas.microsoft.com/office/drawing/2014/main" id="{1068CB7E-C19B-4861-9A3B-6E82AC806A4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80518" y="2483890"/>
            <a:ext cx="1554480" cy="155448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CB97FF7D-3A8A-45E7-B095-0103C3A55E85}"/>
              </a:ext>
            </a:extLst>
          </p:cNvPr>
          <p:cNvSpPr txBox="1"/>
          <p:nvPr/>
        </p:nvSpPr>
        <p:spPr>
          <a:xfrm>
            <a:off x="328192" y="4002811"/>
            <a:ext cx="1691422" cy="557781"/>
          </a:xfrm>
          <a:prstGeom prst="rect">
            <a:avLst/>
          </a:prstGeom>
          <a:noFill/>
        </p:spPr>
        <p:txBody>
          <a:bodyPr wrap="square" rtlCol="0">
            <a:spAutoFit/>
          </a:bodyPr>
          <a:lstStyle/>
          <a:p>
            <a:pPr algn="ctr">
              <a:lnSpc>
                <a:spcPts val="1800"/>
              </a:lnSpc>
            </a:pPr>
            <a:r>
              <a:rPr lang="en-US" kern="900" dirty="0">
                <a:latin typeface="Palatino Linotype" panose="02040502050505030304" pitchFamily="18" charset="0"/>
              </a:rPr>
              <a:t>Kathy Boomer</a:t>
            </a:r>
          </a:p>
          <a:p>
            <a:pPr algn="ctr">
              <a:lnSpc>
                <a:spcPts val="1800"/>
              </a:lnSpc>
            </a:pPr>
            <a:r>
              <a:rPr lang="en-US" kern="900" dirty="0">
                <a:latin typeface="Palatino Linotype" panose="02040502050505030304" pitchFamily="18" charset="0"/>
              </a:rPr>
              <a:t>FFAR</a:t>
            </a:r>
          </a:p>
        </p:txBody>
      </p:sp>
      <p:sp>
        <p:nvSpPr>
          <p:cNvPr id="24" name="TextBox 23">
            <a:extLst>
              <a:ext uri="{FF2B5EF4-FFF2-40B4-BE49-F238E27FC236}">
                <a16:creationId xmlns:a16="http://schemas.microsoft.com/office/drawing/2014/main" id="{5208EEE0-A200-4213-A401-219BAE7CA77C}"/>
              </a:ext>
            </a:extLst>
          </p:cNvPr>
          <p:cNvSpPr txBox="1"/>
          <p:nvPr/>
        </p:nvSpPr>
        <p:spPr>
          <a:xfrm>
            <a:off x="1864088" y="4002811"/>
            <a:ext cx="2333411" cy="557204"/>
          </a:xfrm>
          <a:prstGeom prst="rect">
            <a:avLst/>
          </a:prstGeom>
          <a:noFill/>
        </p:spPr>
        <p:txBody>
          <a:bodyPr wrap="square" rtlCol="0">
            <a:spAutoFit/>
          </a:bodyPr>
          <a:lstStyle/>
          <a:p>
            <a:pPr algn="ctr">
              <a:lnSpc>
                <a:spcPts val="1800"/>
              </a:lnSpc>
            </a:pPr>
            <a:r>
              <a:rPr lang="en-US" kern="900" dirty="0">
                <a:latin typeface="Palatino Linotype" panose="02040502050505030304" pitchFamily="18" charset="0"/>
              </a:rPr>
              <a:t>Jane Frankenberger</a:t>
            </a:r>
          </a:p>
          <a:p>
            <a:pPr algn="ctr">
              <a:lnSpc>
                <a:spcPts val="1800"/>
              </a:lnSpc>
            </a:pPr>
            <a:r>
              <a:rPr lang="en-US" kern="900" dirty="0">
                <a:latin typeface="Palatino Linotype" panose="02040502050505030304" pitchFamily="18" charset="0"/>
              </a:rPr>
              <a:t>Purdue University</a:t>
            </a:r>
          </a:p>
        </p:txBody>
      </p:sp>
      <p:sp>
        <p:nvSpPr>
          <p:cNvPr id="25" name="TextBox 24">
            <a:extLst>
              <a:ext uri="{FF2B5EF4-FFF2-40B4-BE49-F238E27FC236}">
                <a16:creationId xmlns:a16="http://schemas.microsoft.com/office/drawing/2014/main" id="{4C81182C-1F41-409D-BA06-5654ED4BA6A9}"/>
              </a:ext>
            </a:extLst>
          </p:cNvPr>
          <p:cNvSpPr txBox="1"/>
          <p:nvPr/>
        </p:nvSpPr>
        <p:spPr>
          <a:xfrm>
            <a:off x="6005277" y="3996136"/>
            <a:ext cx="1658058" cy="557781"/>
          </a:xfrm>
          <a:prstGeom prst="rect">
            <a:avLst/>
          </a:prstGeom>
          <a:noFill/>
        </p:spPr>
        <p:txBody>
          <a:bodyPr wrap="square" rtlCol="0">
            <a:spAutoFit/>
          </a:bodyPr>
          <a:lstStyle/>
          <a:p>
            <a:pPr algn="ctr">
              <a:lnSpc>
                <a:spcPts val="1800"/>
              </a:lnSpc>
            </a:pPr>
            <a:r>
              <a:rPr lang="en-US" kern="900" dirty="0">
                <a:latin typeface="Palatino Linotype" panose="02040502050505030304" pitchFamily="18" charset="0"/>
              </a:rPr>
              <a:t>Jason </a:t>
            </a:r>
            <a:r>
              <a:rPr lang="en-US" kern="900" dirty="0" err="1">
                <a:latin typeface="Palatino Linotype" panose="02040502050505030304" pitchFamily="18" charset="0"/>
              </a:rPr>
              <a:t>Hubbart</a:t>
            </a:r>
            <a:endParaRPr lang="en-US" kern="900" dirty="0">
              <a:latin typeface="Palatino Linotype" panose="02040502050505030304" pitchFamily="18" charset="0"/>
            </a:endParaRPr>
          </a:p>
          <a:p>
            <a:pPr algn="ctr">
              <a:lnSpc>
                <a:spcPts val="1800"/>
              </a:lnSpc>
            </a:pPr>
            <a:r>
              <a:rPr lang="en-US" kern="900" dirty="0">
                <a:latin typeface="Palatino Linotype" panose="02040502050505030304" pitchFamily="18" charset="0"/>
              </a:rPr>
              <a:t>WVU</a:t>
            </a:r>
          </a:p>
        </p:txBody>
      </p:sp>
      <p:sp>
        <p:nvSpPr>
          <p:cNvPr id="26" name="TextBox 25">
            <a:extLst>
              <a:ext uri="{FF2B5EF4-FFF2-40B4-BE49-F238E27FC236}">
                <a16:creationId xmlns:a16="http://schemas.microsoft.com/office/drawing/2014/main" id="{5A42A6F7-F043-4D1A-B803-A5AE09DCE030}"/>
              </a:ext>
            </a:extLst>
          </p:cNvPr>
          <p:cNvSpPr txBox="1"/>
          <p:nvPr/>
        </p:nvSpPr>
        <p:spPr>
          <a:xfrm>
            <a:off x="4174792" y="4002811"/>
            <a:ext cx="1554480" cy="557204"/>
          </a:xfrm>
          <a:prstGeom prst="rect">
            <a:avLst/>
          </a:prstGeom>
          <a:noFill/>
        </p:spPr>
        <p:txBody>
          <a:bodyPr wrap="square" rtlCol="0">
            <a:spAutoFit/>
          </a:bodyPr>
          <a:lstStyle/>
          <a:p>
            <a:pPr algn="ctr">
              <a:lnSpc>
                <a:spcPts val="1800"/>
              </a:lnSpc>
            </a:pPr>
            <a:r>
              <a:rPr lang="en-US" kern="900" dirty="0">
                <a:latin typeface="Palatino Linotype" panose="02040502050505030304" pitchFamily="18" charset="0"/>
              </a:rPr>
              <a:t>Amy Collick</a:t>
            </a:r>
          </a:p>
          <a:p>
            <a:pPr algn="ctr">
              <a:lnSpc>
                <a:spcPts val="1800"/>
              </a:lnSpc>
            </a:pPr>
            <a:r>
              <a:rPr lang="en-US" kern="900" dirty="0">
                <a:latin typeface="Palatino Linotype" panose="02040502050505030304" pitchFamily="18" charset="0"/>
              </a:rPr>
              <a:t>UMES</a:t>
            </a:r>
          </a:p>
        </p:txBody>
      </p:sp>
      <p:sp>
        <p:nvSpPr>
          <p:cNvPr id="27" name="TextBox 26">
            <a:extLst>
              <a:ext uri="{FF2B5EF4-FFF2-40B4-BE49-F238E27FC236}">
                <a16:creationId xmlns:a16="http://schemas.microsoft.com/office/drawing/2014/main" id="{3ABF7EB9-4616-4357-87F0-6BCDFAAAF5A0}"/>
              </a:ext>
            </a:extLst>
          </p:cNvPr>
          <p:cNvSpPr txBox="1"/>
          <p:nvPr/>
        </p:nvSpPr>
        <p:spPr>
          <a:xfrm>
            <a:off x="7928802" y="4050939"/>
            <a:ext cx="1854964" cy="557204"/>
          </a:xfrm>
          <a:prstGeom prst="rect">
            <a:avLst/>
          </a:prstGeom>
          <a:noFill/>
        </p:spPr>
        <p:txBody>
          <a:bodyPr wrap="square" rtlCol="0">
            <a:spAutoFit/>
          </a:bodyPr>
          <a:lstStyle/>
          <a:p>
            <a:pPr algn="ctr">
              <a:lnSpc>
                <a:spcPts val="1800"/>
              </a:lnSpc>
            </a:pPr>
            <a:r>
              <a:rPr lang="en-US" kern="900" dirty="0">
                <a:latin typeface="Palatino Linotype" panose="02040502050505030304" pitchFamily="18" charset="0"/>
              </a:rPr>
              <a:t>Maile Hartsook FFAR</a:t>
            </a:r>
          </a:p>
        </p:txBody>
      </p:sp>
      <p:pic>
        <p:nvPicPr>
          <p:cNvPr id="1038" name="Picture 14" descr="Image result for jason hubbart">
            <a:extLst>
              <a:ext uri="{FF2B5EF4-FFF2-40B4-BE49-F238E27FC236}">
                <a16:creationId xmlns:a16="http://schemas.microsoft.com/office/drawing/2014/main" id="{90F12877-9552-4B4F-A9A1-26965A29F0C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51797" y="2483890"/>
            <a:ext cx="1554480" cy="1554480"/>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B1ED0803-CE91-4FFE-8142-A913E64AABFE}"/>
              </a:ext>
            </a:extLst>
          </p:cNvPr>
          <p:cNvSpPr txBox="1"/>
          <p:nvPr/>
        </p:nvSpPr>
        <p:spPr>
          <a:xfrm>
            <a:off x="132552" y="6202968"/>
            <a:ext cx="2134083" cy="557204"/>
          </a:xfrm>
          <a:prstGeom prst="rect">
            <a:avLst/>
          </a:prstGeom>
          <a:noFill/>
        </p:spPr>
        <p:txBody>
          <a:bodyPr wrap="square" rtlCol="0">
            <a:spAutoFit/>
          </a:bodyPr>
          <a:lstStyle/>
          <a:p>
            <a:pPr algn="ctr">
              <a:lnSpc>
                <a:spcPts val="1800"/>
              </a:lnSpc>
            </a:pPr>
            <a:r>
              <a:rPr lang="en-US" kern="900" dirty="0">
                <a:latin typeface="Palatino Linotype" panose="02040502050505030304" pitchFamily="18" charset="0"/>
              </a:rPr>
              <a:t>Matthew Ehrhart</a:t>
            </a:r>
          </a:p>
          <a:p>
            <a:pPr algn="ctr">
              <a:lnSpc>
                <a:spcPts val="1800"/>
              </a:lnSpc>
            </a:pPr>
            <a:r>
              <a:rPr lang="en-US" kern="900" dirty="0">
                <a:latin typeface="Palatino Linotype" panose="02040502050505030304" pitchFamily="18" charset="0"/>
              </a:rPr>
              <a:t>Stroud Research</a:t>
            </a:r>
          </a:p>
        </p:txBody>
      </p:sp>
      <p:sp>
        <p:nvSpPr>
          <p:cNvPr id="31" name="TextBox 30">
            <a:extLst>
              <a:ext uri="{FF2B5EF4-FFF2-40B4-BE49-F238E27FC236}">
                <a16:creationId xmlns:a16="http://schemas.microsoft.com/office/drawing/2014/main" id="{DCEA43B5-FE0F-4CF0-AE3C-E862AB0C41DF}"/>
              </a:ext>
            </a:extLst>
          </p:cNvPr>
          <p:cNvSpPr txBox="1"/>
          <p:nvPr/>
        </p:nvSpPr>
        <p:spPr>
          <a:xfrm>
            <a:off x="1914704" y="6154840"/>
            <a:ext cx="2318891" cy="789383"/>
          </a:xfrm>
          <a:prstGeom prst="rect">
            <a:avLst/>
          </a:prstGeom>
          <a:noFill/>
        </p:spPr>
        <p:txBody>
          <a:bodyPr wrap="square" rtlCol="0">
            <a:spAutoFit/>
          </a:bodyPr>
          <a:lstStyle/>
          <a:p>
            <a:pPr algn="ctr">
              <a:lnSpc>
                <a:spcPts val="1800"/>
              </a:lnSpc>
            </a:pPr>
            <a:r>
              <a:rPr lang="en-US" kern="900" dirty="0">
                <a:latin typeface="Palatino Linotype" panose="02040502050505030304" pitchFamily="18" charset="0"/>
              </a:rPr>
              <a:t>Amy Jacobs</a:t>
            </a:r>
          </a:p>
          <a:p>
            <a:pPr algn="ctr">
              <a:lnSpc>
                <a:spcPts val="1800"/>
              </a:lnSpc>
            </a:pPr>
            <a:r>
              <a:rPr lang="en-US" kern="900" dirty="0">
                <a:latin typeface="Palatino Linotype" panose="02040502050505030304" pitchFamily="18" charset="0"/>
              </a:rPr>
              <a:t>The Nature Conservancy</a:t>
            </a:r>
          </a:p>
        </p:txBody>
      </p:sp>
      <p:sp>
        <p:nvSpPr>
          <p:cNvPr id="32" name="TextBox 31">
            <a:extLst>
              <a:ext uri="{FF2B5EF4-FFF2-40B4-BE49-F238E27FC236}">
                <a16:creationId xmlns:a16="http://schemas.microsoft.com/office/drawing/2014/main" id="{188C168E-15C3-4A06-AA5A-C41C91EF6D29}"/>
              </a:ext>
            </a:extLst>
          </p:cNvPr>
          <p:cNvSpPr txBox="1"/>
          <p:nvPr/>
        </p:nvSpPr>
        <p:spPr>
          <a:xfrm>
            <a:off x="3658759" y="5925354"/>
            <a:ext cx="2530229" cy="1018869"/>
          </a:xfrm>
          <a:prstGeom prst="rect">
            <a:avLst/>
          </a:prstGeom>
          <a:noFill/>
        </p:spPr>
        <p:txBody>
          <a:bodyPr wrap="square" rtlCol="0">
            <a:spAutoFit/>
          </a:bodyPr>
          <a:lstStyle/>
          <a:p>
            <a:pPr algn="ctr">
              <a:lnSpc>
                <a:spcPts val="1800"/>
              </a:lnSpc>
            </a:pPr>
            <a:endParaRPr lang="en-US" kern="900" dirty="0">
              <a:latin typeface="Palatino Linotype" panose="02040502050505030304" pitchFamily="18" charset="0"/>
            </a:endParaRPr>
          </a:p>
          <a:p>
            <a:pPr algn="ctr">
              <a:lnSpc>
                <a:spcPts val="1800"/>
              </a:lnSpc>
            </a:pPr>
            <a:r>
              <a:rPr lang="en-US" kern="900" dirty="0">
                <a:latin typeface="Palatino Linotype" panose="02040502050505030304" pitchFamily="18" charset="0"/>
              </a:rPr>
              <a:t>    Chris Brosch</a:t>
            </a:r>
          </a:p>
          <a:p>
            <a:pPr algn="ctr">
              <a:lnSpc>
                <a:spcPts val="1800"/>
              </a:lnSpc>
            </a:pPr>
            <a:r>
              <a:rPr lang="en-US" kern="900" dirty="0">
                <a:latin typeface="Palatino Linotype" panose="02040502050505030304" pitchFamily="18" charset="0"/>
              </a:rPr>
              <a:t>DE Department of Agriculture </a:t>
            </a:r>
          </a:p>
        </p:txBody>
      </p:sp>
      <p:sp>
        <p:nvSpPr>
          <p:cNvPr id="33" name="TextBox 32">
            <a:extLst>
              <a:ext uri="{FF2B5EF4-FFF2-40B4-BE49-F238E27FC236}">
                <a16:creationId xmlns:a16="http://schemas.microsoft.com/office/drawing/2014/main" id="{EC01C113-1618-4F16-A471-559F3C81F210}"/>
              </a:ext>
            </a:extLst>
          </p:cNvPr>
          <p:cNvSpPr txBox="1"/>
          <p:nvPr/>
        </p:nvSpPr>
        <p:spPr>
          <a:xfrm>
            <a:off x="7512920" y="6197104"/>
            <a:ext cx="2530229" cy="557204"/>
          </a:xfrm>
          <a:prstGeom prst="rect">
            <a:avLst/>
          </a:prstGeom>
          <a:noFill/>
        </p:spPr>
        <p:txBody>
          <a:bodyPr wrap="square" rtlCol="0">
            <a:spAutoFit/>
          </a:bodyPr>
          <a:lstStyle/>
          <a:p>
            <a:pPr algn="ctr">
              <a:lnSpc>
                <a:spcPts val="1800"/>
              </a:lnSpc>
            </a:pPr>
            <a:r>
              <a:rPr lang="en-US" kern="900" dirty="0">
                <a:latin typeface="Palatino Linotype" panose="02040502050505030304" pitchFamily="18" charset="0"/>
              </a:rPr>
              <a:t>Cordelia Hiers</a:t>
            </a:r>
          </a:p>
          <a:p>
            <a:pPr algn="ctr">
              <a:lnSpc>
                <a:spcPts val="1800"/>
              </a:lnSpc>
            </a:pPr>
            <a:r>
              <a:rPr lang="en-US" kern="900" dirty="0">
                <a:latin typeface="Palatino Linotype" panose="02040502050505030304" pitchFamily="18" charset="0"/>
              </a:rPr>
              <a:t>FFAR</a:t>
            </a:r>
          </a:p>
        </p:txBody>
      </p:sp>
      <p:sp>
        <p:nvSpPr>
          <p:cNvPr id="34" name="TextBox 33">
            <a:extLst>
              <a:ext uri="{FF2B5EF4-FFF2-40B4-BE49-F238E27FC236}">
                <a16:creationId xmlns:a16="http://schemas.microsoft.com/office/drawing/2014/main" id="{2CFA5199-635F-4696-A37D-16E950F82355}"/>
              </a:ext>
            </a:extLst>
          </p:cNvPr>
          <p:cNvSpPr txBox="1"/>
          <p:nvPr/>
        </p:nvSpPr>
        <p:spPr>
          <a:xfrm>
            <a:off x="9624675" y="4049067"/>
            <a:ext cx="2530229" cy="557204"/>
          </a:xfrm>
          <a:prstGeom prst="rect">
            <a:avLst/>
          </a:prstGeom>
          <a:noFill/>
        </p:spPr>
        <p:txBody>
          <a:bodyPr wrap="square" rtlCol="0">
            <a:spAutoFit/>
          </a:bodyPr>
          <a:lstStyle/>
          <a:p>
            <a:pPr algn="ctr">
              <a:lnSpc>
                <a:spcPts val="1800"/>
              </a:lnSpc>
            </a:pPr>
            <a:r>
              <a:rPr lang="en-US" kern="900" dirty="0">
                <a:latin typeface="Palatino Linotype" panose="02040502050505030304" pitchFamily="18" charset="0"/>
              </a:rPr>
              <a:t>Meg Cole</a:t>
            </a:r>
          </a:p>
          <a:p>
            <a:pPr algn="ctr">
              <a:lnSpc>
                <a:spcPts val="1800"/>
              </a:lnSpc>
            </a:pPr>
            <a:r>
              <a:rPr lang="en-US" kern="900" dirty="0">
                <a:latin typeface="Palatino Linotype" panose="02040502050505030304" pitchFamily="18" charset="0"/>
              </a:rPr>
              <a:t>CBP STAC</a:t>
            </a:r>
          </a:p>
        </p:txBody>
      </p:sp>
      <p:sp>
        <p:nvSpPr>
          <p:cNvPr id="35" name="TextBox 34">
            <a:extLst>
              <a:ext uri="{FF2B5EF4-FFF2-40B4-BE49-F238E27FC236}">
                <a16:creationId xmlns:a16="http://schemas.microsoft.com/office/drawing/2014/main" id="{66056F43-6A4A-4361-AB4E-250CDF8939DD}"/>
              </a:ext>
            </a:extLst>
          </p:cNvPr>
          <p:cNvSpPr txBox="1"/>
          <p:nvPr/>
        </p:nvSpPr>
        <p:spPr>
          <a:xfrm>
            <a:off x="9661771" y="6178904"/>
            <a:ext cx="2530229" cy="557204"/>
          </a:xfrm>
          <a:prstGeom prst="rect">
            <a:avLst/>
          </a:prstGeom>
          <a:noFill/>
        </p:spPr>
        <p:txBody>
          <a:bodyPr wrap="square" rtlCol="0">
            <a:spAutoFit/>
          </a:bodyPr>
          <a:lstStyle/>
          <a:p>
            <a:pPr algn="ctr">
              <a:lnSpc>
                <a:spcPts val="1800"/>
              </a:lnSpc>
            </a:pPr>
            <a:r>
              <a:rPr lang="en-US" kern="900" dirty="0">
                <a:latin typeface="Palatino Linotype" panose="02040502050505030304" pitchFamily="18" charset="0"/>
              </a:rPr>
              <a:t>Annabelle Harvey</a:t>
            </a:r>
          </a:p>
          <a:p>
            <a:pPr algn="ctr">
              <a:lnSpc>
                <a:spcPts val="1800"/>
              </a:lnSpc>
            </a:pPr>
            <a:r>
              <a:rPr lang="en-US" kern="900" dirty="0">
                <a:latin typeface="Palatino Linotype" panose="02040502050505030304" pitchFamily="18" charset="0"/>
              </a:rPr>
              <a:t>CBP STAC</a:t>
            </a:r>
          </a:p>
        </p:txBody>
      </p:sp>
      <p:pic>
        <p:nvPicPr>
          <p:cNvPr id="20" name="Picture 19" descr="A person smiling for the camera&#10;&#10;Description automatically generated">
            <a:extLst>
              <a:ext uri="{FF2B5EF4-FFF2-40B4-BE49-F238E27FC236}">
                <a16:creationId xmlns:a16="http://schemas.microsoft.com/office/drawing/2014/main" id="{D7D7C9D2-6B02-4149-A936-5EFD0A5A1C2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39026" y="4568330"/>
            <a:ext cx="1554480" cy="1554480"/>
          </a:xfrm>
          <a:prstGeom prst="rect">
            <a:avLst/>
          </a:prstGeom>
        </p:spPr>
      </p:pic>
      <p:sp>
        <p:nvSpPr>
          <p:cNvPr id="40" name="TextBox 39">
            <a:extLst>
              <a:ext uri="{FF2B5EF4-FFF2-40B4-BE49-F238E27FC236}">
                <a16:creationId xmlns:a16="http://schemas.microsoft.com/office/drawing/2014/main" id="{AC26834A-09CB-4BC8-BB77-586D8B3C38E1}"/>
              </a:ext>
            </a:extLst>
          </p:cNvPr>
          <p:cNvSpPr txBox="1"/>
          <p:nvPr/>
        </p:nvSpPr>
        <p:spPr>
          <a:xfrm>
            <a:off x="5647945" y="6122461"/>
            <a:ext cx="2530229" cy="788614"/>
          </a:xfrm>
          <a:prstGeom prst="rect">
            <a:avLst/>
          </a:prstGeom>
          <a:noFill/>
        </p:spPr>
        <p:txBody>
          <a:bodyPr wrap="square" rtlCol="0">
            <a:spAutoFit/>
          </a:bodyPr>
          <a:lstStyle/>
          <a:p>
            <a:pPr algn="ctr">
              <a:lnSpc>
                <a:spcPts val="1800"/>
              </a:lnSpc>
            </a:pPr>
            <a:r>
              <a:rPr lang="en-US" kern="900" dirty="0">
                <a:latin typeface="Palatino Linotype" panose="02040502050505030304" pitchFamily="18" charset="0"/>
              </a:rPr>
              <a:t>Lindsay Thompson</a:t>
            </a:r>
          </a:p>
          <a:p>
            <a:pPr algn="ctr">
              <a:lnSpc>
                <a:spcPts val="1800"/>
              </a:lnSpc>
            </a:pPr>
            <a:r>
              <a:rPr lang="en-US" kern="900" dirty="0">
                <a:latin typeface="Palatino Linotype" panose="02040502050505030304" pitchFamily="18" charset="0"/>
              </a:rPr>
              <a:t>Thompson Ag Consulting</a:t>
            </a:r>
          </a:p>
        </p:txBody>
      </p:sp>
      <p:sp>
        <p:nvSpPr>
          <p:cNvPr id="28" name="TextBox 27">
            <a:extLst>
              <a:ext uri="{FF2B5EF4-FFF2-40B4-BE49-F238E27FC236}">
                <a16:creationId xmlns:a16="http://schemas.microsoft.com/office/drawing/2014/main" id="{7AA85E40-463B-4D18-BC46-A65B7F964199}"/>
              </a:ext>
            </a:extLst>
          </p:cNvPr>
          <p:cNvSpPr txBox="1"/>
          <p:nvPr/>
        </p:nvSpPr>
        <p:spPr>
          <a:xfrm rot="20992154">
            <a:off x="9123935" y="1255007"/>
            <a:ext cx="2759055" cy="461665"/>
          </a:xfrm>
          <a:prstGeom prst="rect">
            <a:avLst/>
          </a:prstGeom>
          <a:noFill/>
        </p:spPr>
        <p:txBody>
          <a:bodyPr wrap="square" rtlCol="0">
            <a:spAutoFit/>
          </a:bodyPr>
          <a:lstStyle/>
          <a:p>
            <a:pPr algn="ctr"/>
            <a:r>
              <a:rPr lang="en-US" sz="2400" b="1" dirty="0">
                <a:solidFill>
                  <a:srgbClr val="9BBB59">
                    <a:lumMod val="75000"/>
                  </a:srgbClr>
                </a:solidFill>
                <a:latin typeface="Lucida Handwriting" panose="03010101010101010101" pitchFamily="66" charset="0"/>
              </a:rPr>
              <a:t>Thank you!</a:t>
            </a:r>
          </a:p>
        </p:txBody>
      </p:sp>
    </p:spTree>
    <p:extLst>
      <p:ext uri="{BB962C8B-B14F-4D97-AF65-F5344CB8AC3E}">
        <p14:creationId xmlns:p14="http://schemas.microsoft.com/office/powerpoint/2010/main" val="2700479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Project Profile">
            <a:extLst>
              <a:ext uri="{FF2B5EF4-FFF2-40B4-BE49-F238E27FC236}">
                <a16:creationId xmlns:a16="http://schemas.microsoft.com/office/drawing/2014/main" id="{4C2EF571-EB43-418B-9852-0458A856DA5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56411" y="336884"/>
            <a:ext cx="4463716" cy="2177733"/>
          </a:xfrm>
          <a:prstGeom prst="rect">
            <a:avLst/>
          </a:prstGeom>
          <a:noFill/>
          <a:ln>
            <a:noFill/>
          </a:ln>
        </p:spPr>
      </p:pic>
      <p:pic>
        <p:nvPicPr>
          <p:cNvPr id="5" name="Picture 4">
            <a:extLst>
              <a:ext uri="{FF2B5EF4-FFF2-40B4-BE49-F238E27FC236}">
                <a16:creationId xmlns:a16="http://schemas.microsoft.com/office/drawing/2014/main" id="{0080B07A-E97F-4035-A719-ED2CA4D550D8}"/>
              </a:ext>
            </a:extLst>
          </p:cNvPr>
          <p:cNvPicPr>
            <a:picLocks noChangeAspect="1"/>
          </p:cNvPicPr>
          <p:nvPr/>
        </p:nvPicPr>
        <p:blipFill rotWithShape="1">
          <a:blip r:embed="rId3"/>
          <a:srcRect l="10298" t="6666" r="10867"/>
          <a:stretch/>
        </p:blipFill>
        <p:spPr>
          <a:xfrm>
            <a:off x="4828674" y="228600"/>
            <a:ext cx="7206915" cy="6400800"/>
          </a:xfrm>
          <a:prstGeom prst="rect">
            <a:avLst/>
          </a:prstGeom>
        </p:spPr>
      </p:pic>
    </p:spTree>
    <p:extLst>
      <p:ext uri="{BB962C8B-B14F-4D97-AF65-F5344CB8AC3E}">
        <p14:creationId xmlns:p14="http://schemas.microsoft.com/office/powerpoint/2010/main" val="2876022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4" name="Picture 3" descr="A picture containing fruit&#10;&#10;Description automatically generated">
            <a:extLst>
              <a:ext uri="{FF2B5EF4-FFF2-40B4-BE49-F238E27FC236}">
                <a16:creationId xmlns:a16="http://schemas.microsoft.com/office/drawing/2014/main" id="{A059B7C5-50A3-41FB-8A82-1483DD983477}"/>
              </a:ext>
            </a:extLst>
          </p:cNvPr>
          <p:cNvPicPr>
            <a:picLocks noChangeAspect="1"/>
          </p:cNvPicPr>
          <p:nvPr/>
        </p:nvPicPr>
        <p:blipFill rotWithShape="1">
          <a:blip r:embed="rId2">
            <a:extLst>
              <a:ext uri="{28A0092B-C50C-407E-A947-70E740481C1C}">
                <a14:useLocalDpi xmlns:a14="http://schemas.microsoft.com/office/drawing/2010/main" val="0"/>
              </a:ext>
            </a:extLst>
          </a:blip>
          <a:srcRect l="18162" r="18733"/>
          <a:stretch/>
        </p:blipFill>
        <p:spPr>
          <a:xfrm>
            <a:off x="-11941" y="3502661"/>
            <a:ext cx="2737685" cy="2440308"/>
          </a:xfrm>
          <a:prstGeom prst="rect">
            <a:avLst/>
          </a:prstGeom>
        </p:spPr>
      </p:pic>
      <p:sp>
        <p:nvSpPr>
          <p:cNvPr id="6" name="TextBox 5">
            <a:extLst>
              <a:ext uri="{FF2B5EF4-FFF2-40B4-BE49-F238E27FC236}">
                <a16:creationId xmlns:a16="http://schemas.microsoft.com/office/drawing/2014/main" id="{292B2D71-E1F9-4348-A96E-0586864CA88D}"/>
              </a:ext>
            </a:extLst>
          </p:cNvPr>
          <p:cNvSpPr txBox="1"/>
          <p:nvPr/>
        </p:nvSpPr>
        <p:spPr>
          <a:xfrm>
            <a:off x="1812932" y="4318125"/>
            <a:ext cx="3396415" cy="1569660"/>
          </a:xfrm>
          <a:prstGeom prst="rect">
            <a:avLst/>
          </a:prstGeom>
          <a:noFill/>
        </p:spPr>
        <p:txBody>
          <a:bodyPr wrap="square" rtlCol="0">
            <a:spAutoFit/>
          </a:bodyPr>
          <a:lstStyle/>
          <a:p>
            <a:pPr algn="ctr"/>
            <a:r>
              <a:rPr lang="en-US" sz="9600" dirty="0">
                <a:latin typeface="Comic Sans MS" panose="030F0702030302020204" pitchFamily="66" charset="0"/>
              </a:rPr>
              <a:t>~ f(</a:t>
            </a:r>
          </a:p>
        </p:txBody>
      </p:sp>
      <p:pic>
        <p:nvPicPr>
          <p:cNvPr id="8" name="Picture 2" descr="Image result for surface water groundwater single resource">
            <a:extLst>
              <a:ext uri="{FF2B5EF4-FFF2-40B4-BE49-F238E27FC236}">
                <a16:creationId xmlns:a16="http://schemas.microsoft.com/office/drawing/2014/main" id="{CD592514-28CB-4374-B181-8B6BD62AF6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5306" y="3777712"/>
            <a:ext cx="1944510" cy="259268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C2135DB0-4CC0-4E4A-B51B-62F82263B97E}"/>
              </a:ext>
            </a:extLst>
          </p:cNvPr>
          <p:cNvSpPr txBox="1"/>
          <p:nvPr/>
        </p:nvSpPr>
        <p:spPr>
          <a:xfrm>
            <a:off x="6323356" y="4318125"/>
            <a:ext cx="607507" cy="1569660"/>
          </a:xfrm>
          <a:prstGeom prst="rect">
            <a:avLst/>
          </a:prstGeom>
          <a:noFill/>
        </p:spPr>
        <p:txBody>
          <a:bodyPr wrap="square" rtlCol="0">
            <a:spAutoFit/>
          </a:bodyPr>
          <a:lstStyle/>
          <a:p>
            <a:pPr algn="ctr"/>
            <a:r>
              <a:rPr lang="en-US" sz="9600" dirty="0">
                <a:latin typeface="Comic Sans MS" panose="030F0702030302020204" pitchFamily="66" charset="0"/>
              </a:rPr>
              <a:t>,</a:t>
            </a:r>
          </a:p>
        </p:txBody>
      </p:sp>
      <p:sp>
        <p:nvSpPr>
          <p:cNvPr id="12" name="TextBox 11">
            <a:extLst>
              <a:ext uri="{FF2B5EF4-FFF2-40B4-BE49-F238E27FC236}">
                <a16:creationId xmlns:a16="http://schemas.microsoft.com/office/drawing/2014/main" id="{6170C407-0A87-44EA-AD9C-417CBDA05B50}"/>
              </a:ext>
            </a:extLst>
          </p:cNvPr>
          <p:cNvSpPr txBox="1"/>
          <p:nvPr/>
        </p:nvSpPr>
        <p:spPr>
          <a:xfrm>
            <a:off x="10286770" y="4205900"/>
            <a:ext cx="3396415" cy="1569660"/>
          </a:xfrm>
          <a:prstGeom prst="rect">
            <a:avLst/>
          </a:prstGeom>
          <a:noFill/>
        </p:spPr>
        <p:txBody>
          <a:bodyPr wrap="square" rtlCol="0">
            <a:spAutoFit/>
          </a:bodyPr>
          <a:lstStyle/>
          <a:p>
            <a:pPr algn="ctr"/>
            <a:r>
              <a:rPr lang="en-US" sz="9600" dirty="0">
                <a:latin typeface="Comic Sans MS" panose="030F0702030302020204" pitchFamily="66" charset="0"/>
              </a:rPr>
              <a:t>)</a:t>
            </a:r>
          </a:p>
        </p:txBody>
      </p:sp>
      <p:pic>
        <p:nvPicPr>
          <p:cNvPr id="13" name="Picture 12">
            <a:extLst>
              <a:ext uri="{FF2B5EF4-FFF2-40B4-BE49-F238E27FC236}">
                <a16:creationId xmlns:a16="http://schemas.microsoft.com/office/drawing/2014/main" id="{EDD48563-96C9-49FC-9A8F-CF9554EA08B0}"/>
              </a:ext>
            </a:extLst>
          </p:cNvPr>
          <p:cNvPicPr>
            <a:picLocks noChangeAspect="1"/>
          </p:cNvPicPr>
          <p:nvPr/>
        </p:nvPicPr>
        <p:blipFill rotWithShape="1">
          <a:blip r:embed="rId4"/>
          <a:srcRect l="4519" t="11805" r="14288" b="51226"/>
          <a:stretch/>
        </p:blipFill>
        <p:spPr>
          <a:xfrm>
            <a:off x="178557" y="5942969"/>
            <a:ext cx="2289375" cy="842847"/>
          </a:xfrm>
          <a:prstGeom prst="rect">
            <a:avLst/>
          </a:prstGeom>
        </p:spPr>
      </p:pic>
      <p:pic>
        <p:nvPicPr>
          <p:cNvPr id="5" name="Picture 4" descr="A picture containing text&#10;&#10;Description automatically generated">
            <a:extLst>
              <a:ext uri="{FF2B5EF4-FFF2-40B4-BE49-F238E27FC236}">
                <a16:creationId xmlns:a16="http://schemas.microsoft.com/office/drawing/2014/main" id="{4ACFC021-AB02-455B-8E8D-B9C833E606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25881" y="3769418"/>
            <a:ext cx="2518714" cy="1620648"/>
          </a:xfrm>
          <a:prstGeom prst="rect">
            <a:avLst/>
          </a:prstGeom>
        </p:spPr>
      </p:pic>
      <p:sp>
        <p:nvSpPr>
          <p:cNvPr id="16" name="TextBox 15">
            <a:extLst>
              <a:ext uri="{FF2B5EF4-FFF2-40B4-BE49-F238E27FC236}">
                <a16:creationId xmlns:a16="http://schemas.microsoft.com/office/drawing/2014/main" id="{100ADE6E-0E6B-49A2-8FAF-822E700A3FF2}"/>
              </a:ext>
            </a:extLst>
          </p:cNvPr>
          <p:cNvSpPr txBox="1"/>
          <p:nvPr/>
        </p:nvSpPr>
        <p:spPr>
          <a:xfrm>
            <a:off x="8892893" y="4265702"/>
            <a:ext cx="607507" cy="1569660"/>
          </a:xfrm>
          <a:prstGeom prst="rect">
            <a:avLst/>
          </a:prstGeom>
          <a:noFill/>
        </p:spPr>
        <p:txBody>
          <a:bodyPr wrap="square" rtlCol="0">
            <a:spAutoFit/>
          </a:bodyPr>
          <a:lstStyle/>
          <a:p>
            <a:pPr algn="ctr"/>
            <a:r>
              <a:rPr lang="en-US" sz="9600" dirty="0">
                <a:latin typeface="Comic Sans MS" panose="030F0702030302020204" pitchFamily="66" charset="0"/>
              </a:rPr>
              <a:t>,</a:t>
            </a:r>
          </a:p>
        </p:txBody>
      </p:sp>
      <p:pic>
        <p:nvPicPr>
          <p:cNvPr id="9" name="Picture 8">
            <a:extLst>
              <a:ext uri="{FF2B5EF4-FFF2-40B4-BE49-F238E27FC236}">
                <a16:creationId xmlns:a16="http://schemas.microsoft.com/office/drawing/2014/main" id="{54FE824A-C664-4AF1-BDE3-906331EC9C43}"/>
              </a:ext>
            </a:extLst>
          </p:cNvPr>
          <p:cNvPicPr>
            <a:picLocks noChangeAspect="1"/>
          </p:cNvPicPr>
          <p:nvPr/>
        </p:nvPicPr>
        <p:blipFill rotWithShape="1">
          <a:blip r:embed="rId6"/>
          <a:srcRect l="10798" t="10422" r="50668" b="77112"/>
          <a:stretch/>
        </p:blipFill>
        <p:spPr>
          <a:xfrm>
            <a:off x="6961880" y="5392322"/>
            <a:ext cx="1849821" cy="372457"/>
          </a:xfrm>
          <a:prstGeom prst="rect">
            <a:avLst/>
          </a:prstGeom>
        </p:spPr>
      </p:pic>
      <p:pic>
        <p:nvPicPr>
          <p:cNvPr id="18" name="Picture 17">
            <a:extLst>
              <a:ext uri="{FF2B5EF4-FFF2-40B4-BE49-F238E27FC236}">
                <a16:creationId xmlns:a16="http://schemas.microsoft.com/office/drawing/2014/main" id="{0923F17E-26AF-4E2C-AACF-8C615110922E}"/>
              </a:ext>
            </a:extLst>
          </p:cNvPr>
          <p:cNvPicPr>
            <a:picLocks noChangeAspect="1"/>
          </p:cNvPicPr>
          <p:nvPr/>
        </p:nvPicPr>
        <p:blipFill>
          <a:blip r:embed="rId7"/>
          <a:stretch>
            <a:fillRect/>
          </a:stretch>
        </p:blipFill>
        <p:spPr>
          <a:xfrm>
            <a:off x="9345807" y="2768562"/>
            <a:ext cx="2513798" cy="3946634"/>
          </a:xfrm>
          <a:prstGeom prst="rect">
            <a:avLst/>
          </a:prstGeom>
        </p:spPr>
      </p:pic>
      <p:pic>
        <p:nvPicPr>
          <p:cNvPr id="2" name="Picture 1">
            <a:extLst>
              <a:ext uri="{FF2B5EF4-FFF2-40B4-BE49-F238E27FC236}">
                <a16:creationId xmlns:a16="http://schemas.microsoft.com/office/drawing/2014/main" id="{D088B6D4-1139-4D1B-A9B4-BD2A902F8AA3}"/>
              </a:ext>
            </a:extLst>
          </p:cNvPr>
          <p:cNvPicPr>
            <a:picLocks noChangeAspect="1"/>
          </p:cNvPicPr>
          <p:nvPr/>
        </p:nvPicPr>
        <p:blipFill>
          <a:blip r:embed="rId8"/>
          <a:stretch>
            <a:fillRect/>
          </a:stretch>
        </p:blipFill>
        <p:spPr>
          <a:xfrm>
            <a:off x="1356901" y="975362"/>
            <a:ext cx="4339130" cy="1849839"/>
          </a:xfrm>
          <a:prstGeom prst="rect">
            <a:avLst/>
          </a:prstGeom>
        </p:spPr>
      </p:pic>
      <p:sp>
        <p:nvSpPr>
          <p:cNvPr id="21" name="Title 6">
            <a:extLst>
              <a:ext uri="{FF2B5EF4-FFF2-40B4-BE49-F238E27FC236}">
                <a16:creationId xmlns:a16="http://schemas.microsoft.com/office/drawing/2014/main" id="{655E8526-5338-4729-810A-B2F4E70F9834}"/>
              </a:ext>
            </a:extLst>
          </p:cNvPr>
          <p:cNvSpPr txBox="1">
            <a:spLocks noGrp="1"/>
          </p:cNvSpPr>
          <p:nvPr>
            <p:ph type="title"/>
          </p:nvPr>
        </p:nvSpPr>
        <p:spPr>
          <a:xfrm>
            <a:off x="847504" y="0"/>
            <a:ext cx="10870363" cy="120032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Arial" panose="020B0604020202020204" pitchFamily="34" charset="0"/>
              </a:rPr>
              <a:t>Linking Soil and Watershed Health to In-Field and Edge-of-Field Water Management: </a:t>
            </a:r>
            <a:r>
              <a:rPr kumimoji="0" lang="en-US" sz="3600" b="1" i="0" u="none" strike="noStrike" kern="1200" cap="none" spc="0" normalizeH="0" baseline="0" noProof="0" dirty="0">
                <a:ln>
                  <a:noFill/>
                </a:ln>
                <a:solidFill>
                  <a:schemeClr val="tx1"/>
                </a:solidFill>
                <a:effectLst/>
                <a:uLnTx/>
                <a:uFillTx/>
                <a:latin typeface="Calibri" panose="020F0502020204030204"/>
                <a:ea typeface="+mn-ea"/>
                <a:cs typeface="Arial" panose="020B0604020202020204" pitchFamily="34" charset="0"/>
              </a:rPr>
              <a:t>Why this Workshop</a:t>
            </a:r>
            <a:endParaRPr kumimoji="0" lang="en-US" sz="3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803543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DBE6C75-CC0B-44AF-A0F9-5B4B618F3AED}"/>
              </a:ext>
            </a:extLst>
          </p:cNvPr>
          <p:cNvPicPr>
            <a:picLocks noChangeAspect="1"/>
          </p:cNvPicPr>
          <p:nvPr/>
        </p:nvPicPr>
        <p:blipFill rotWithShape="1">
          <a:blip r:embed="rId2"/>
          <a:srcRect l="5263" t="12737" r="6357" b="-2090"/>
          <a:stretch/>
        </p:blipFill>
        <p:spPr>
          <a:xfrm>
            <a:off x="6532673" y="1872636"/>
            <a:ext cx="5185194" cy="3932688"/>
          </a:xfrm>
          <a:prstGeom prst="rect">
            <a:avLst/>
          </a:prstGeom>
        </p:spPr>
      </p:pic>
      <p:pic>
        <p:nvPicPr>
          <p:cNvPr id="6" name="Picture 5">
            <a:extLst>
              <a:ext uri="{FF2B5EF4-FFF2-40B4-BE49-F238E27FC236}">
                <a16:creationId xmlns:a16="http://schemas.microsoft.com/office/drawing/2014/main" id="{F0D63BED-2781-4584-ABEB-D063DF57C194}"/>
              </a:ext>
            </a:extLst>
          </p:cNvPr>
          <p:cNvPicPr>
            <a:picLocks noChangeAspect="1"/>
          </p:cNvPicPr>
          <p:nvPr/>
        </p:nvPicPr>
        <p:blipFill rotWithShape="1">
          <a:blip r:embed="rId3"/>
          <a:srcRect l="7950" t="26667" r="37149" b="2089"/>
          <a:stretch/>
        </p:blipFill>
        <p:spPr>
          <a:xfrm>
            <a:off x="184529" y="1403724"/>
            <a:ext cx="3917852" cy="3814008"/>
          </a:xfrm>
          <a:prstGeom prst="rect">
            <a:avLst/>
          </a:prstGeom>
        </p:spPr>
      </p:pic>
      <p:sp>
        <p:nvSpPr>
          <p:cNvPr id="9" name="Title 6">
            <a:extLst>
              <a:ext uri="{FF2B5EF4-FFF2-40B4-BE49-F238E27FC236}">
                <a16:creationId xmlns:a16="http://schemas.microsoft.com/office/drawing/2014/main" id="{639CC89A-0060-489A-BEF3-CADA496F9D0E}"/>
              </a:ext>
            </a:extLst>
          </p:cNvPr>
          <p:cNvSpPr txBox="1">
            <a:spLocks noGrp="1"/>
          </p:cNvSpPr>
          <p:nvPr>
            <p:ph type="title"/>
          </p:nvPr>
        </p:nvSpPr>
        <p:spPr>
          <a:xfrm>
            <a:off x="847504" y="123111"/>
            <a:ext cx="10870363" cy="107721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tx1">
                    <a:lumMod val="65000"/>
                    <a:lumOff val="35000"/>
                  </a:schemeClr>
                </a:solidFill>
                <a:effectLst/>
                <a:uLnTx/>
                <a:uFillTx/>
                <a:latin typeface="Palatino Linotype" panose="02040502050505030304" pitchFamily="18" charset="0"/>
                <a:ea typeface="+mn-ea"/>
                <a:cs typeface="Arial" panose="020B0604020202020204" pitchFamily="34" charset="0"/>
              </a:rPr>
              <a:t>Linking Soil and Watershed Health to In-Field and Edge-of-Field Water Management: </a:t>
            </a:r>
            <a:r>
              <a:rPr kumimoji="0" lang="en-US" sz="3200" b="1" i="0" u="none" strike="noStrike" kern="1200" cap="none" spc="0" normalizeH="0" baseline="0" noProof="0" dirty="0">
                <a:ln>
                  <a:noFill/>
                </a:ln>
                <a:solidFill>
                  <a:schemeClr val="tx1"/>
                </a:solidFill>
                <a:effectLst/>
                <a:uLnTx/>
                <a:uFillTx/>
                <a:latin typeface="Palatino Linotype" panose="02040502050505030304" pitchFamily="18" charset="0"/>
                <a:ea typeface="+mn-ea"/>
                <a:cs typeface="Arial" panose="020B0604020202020204" pitchFamily="34" charset="0"/>
              </a:rPr>
              <a:t>Why this Workshop</a:t>
            </a:r>
            <a:endParaRPr kumimoji="0" lang="en-US" sz="3200" b="0" i="0" u="none" strike="noStrike" kern="1200" cap="none" spc="0" normalizeH="0" baseline="0" noProof="0" dirty="0">
              <a:ln>
                <a:noFill/>
              </a:ln>
              <a:solidFill>
                <a:schemeClr val="tx1"/>
              </a:solidFill>
              <a:effectLst/>
              <a:uLnTx/>
              <a:uFillTx/>
              <a:latin typeface="Palatino Linotype" panose="02040502050505030304" pitchFamily="18" charset="0"/>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4BFD4CCA-9F69-4BBA-A1C8-F34FD47ADFCA}"/>
              </a:ext>
            </a:extLst>
          </p:cNvPr>
          <p:cNvCxnSpPr>
            <a:cxnSpLocks/>
          </p:cNvCxnSpPr>
          <p:nvPr/>
        </p:nvCxnSpPr>
        <p:spPr>
          <a:xfrm>
            <a:off x="184529" y="1302026"/>
            <a:ext cx="1182294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1.png">
            <a:extLst>
              <a:ext uri="{FF2B5EF4-FFF2-40B4-BE49-F238E27FC236}">
                <a16:creationId xmlns:a16="http://schemas.microsoft.com/office/drawing/2014/main" id="{4C4D3271-4E9D-4751-8A95-D8EFA9EC492C}"/>
              </a:ext>
            </a:extLst>
          </p:cNvPr>
          <p:cNvPicPr/>
          <p:nvPr/>
        </p:nvPicPr>
        <p:blipFill rotWithShape="1">
          <a:blip r:embed="rId4"/>
          <a:srcRect l="29188" t="42155" r="1694" b="6790"/>
          <a:stretch/>
        </p:blipFill>
        <p:spPr>
          <a:xfrm>
            <a:off x="-416329" y="3773193"/>
            <a:ext cx="5046135" cy="3043076"/>
          </a:xfrm>
          <a:prstGeom prst="triangle">
            <a:avLst/>
          </a:prstGeom>
          <a:ln/>
        </p:spPr>
      </p:pic>
      <p:pic>
        <p:nvPicPr>
          <p:cNvPr id="14" name="Picture 13">
            <a:extLst>
              <a:ext uri="{FF2B5EF4-FFF2-40B4-BE49-F238E27FC236}">
                <a16:creationId xmlns:a16="http://schemas.microsoft.com/office/drawing/2014/main" id="{1FFA79A8-8E92-4A23-A277-A4712C8911C7}"/>
              </a:ext>
            </a:extLst>
          </p:cNvPr>
          <p:cNvPicPr>
            <a:picLocks noChangeAspect="1"/>
          </p:cNvPicPr>
          <p:nvPr/>
        </p:nvPicPr>
        <p:blipFill rotWithShape="1">
          <a:blip r:embed="rId5"/>
          <a:srcRect l="8037" t="16945" r="23579" b="65416"/>
          <a:stretch/>
        </p:blipFill>
        <p:spPr>
          <a:xfrm>
            <a:off x="3904614" y="6150928"/>
            <a:ext cx="3434997" cy="619665"/>
          </a:xfrm>
          <a:prstGeom prst="rect">
            <a:avLst/>
          </a:prstGeom>
        </p:spPr>
      </p:pic>
      <p:pic>
        <p:nvPicPr>
          <p:cNvPr id="7" name="Picture 6">
            <a:extLst>
              <a:ext uri="{FF2B5EF4-FFF2-40B4-BE49-F238E27FC236}">
                <a16:creationId xmlns:a16="http://schemas.microsoft.com/office/drawing/2014/main" id="{DB60AA53-7E31-47AB-868D-FF7939063CA3}"/>
              </a:ext>
            </a:extLst>
          </p:cNvPr>
          <p:cNvPicPr>
            <a:picLocks noChangeAspect="1"/>
          </p:cNvPicPr>
          <p:nvPr/>
        </p:nvPicPr>
        <p:blipFill rotWithShape="1">
          <a:blip r:embed="rId6"/>
          <a:srcRect l="6308" t="7363" r="29198" b="25373"/>
          <a:stretch/>
        </p:blipFill>
        <p:spPr>
          <a:xfrm>
            <a:off x="4703239" y="3290558"/>
            <a:ext cx="3434997" cy="2687568"/>
          </a:xfrm>
          <a:prstGeom prst="rect">
            <a:avLst/>
          </a:prstGeom>
        </p:spPr>
      </p:pic>
    </p:spTree>
    <p:extLst>
      <p:ext uri="{BB962C8B-B14F-4D97-AF65-F5344CB8AC3E}">
        <p14:creationId xmlns:p14="http://schemas.microsoft.com/office/powerpoint/2010/main" val="6068221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BC1ABB19-1B98-4C6D-AD43-19BD1B0C7A72}"/>
              </a:ext>
            </a:extLst>
          </p:cNvPr>
          <p:cNvPicPr>
            <a:picLocks noChangeAspect="1"/>
          </p:cNvPicPr>
          <p:nvPr/>
        </p:nvPicPr>
        <p:blipFill rotWithShape="1">
          <a:blip r:embed="rId2"/>
          <a:srcRect t="11159" b="45487"/>
          <a:stretch/>
        </p:blipFill>
        <p:spPr>
          <a:xfrm>
            <a:off x="30480" y="46949"/>
            <a:ext cx="12192000" cy="2863101"/>
          </a:xfrm>
          <a:prstGeom prst="rect">
            <a:avLst/>
          </a:prstGeom>
        </p:spPr>
      </p:pic>
      <p:pic>
        <p:nvPicPr>
          <p:cNvPr id="15" name="Picture 14" descr="A screenshot of a cell phone&#10;&#10;Description automatically generated">
            <a:extLst>
              <a:ext uri="{FF2B5EF4-FFF2-40B4-BE49-F238E27FC236}">
                <a16:creationId xmlns:a16="http://schemas.microsoft.com/office/drawing/2014/main" id="{B0CA9932-7AB6-42E9-ADC7-4BD993C80D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1" y="2910050"/>
            <a:ext cx="5314696" cy="2377440"/>
          </a:xfrm>
          <a:prstGeom prst="rect">
            <a:avLst/>
          </a:prstGeom>
        </p:spPr>
      </p:pic>
      <p:pic>
        <p:nvPicPr>
          <p:cNvPr id="17" name="Picture 16" descr="A screenshot of a cell phone&#10;&#10;Description automatically generated">
            <a:extLst>
              <a:ext uri="{FF2B5EF4-FFF2-40B4-BE49-F238E27FC236}">
                <a16:creationId xmlns:a16="http://schemas.microsoft.com/office/drawing/2014/main" id="{B3BD0BF7-F5BD-4D82-BE52-A09D0830153A}"/>
              </a:ext>
            </a:extLst>
          </p:cNvPr>
          <p:cNvPicPr>
            <a:picLocks noChangeAspect="1"/>
          </p:cNvPicPr>
          <p:nvPr/>
        </p:nvPicPr>
        <p:blipFill rotWithShape="1">
          <a:blip r:embed="rId4">
            <a:extLst>
              <a:ext uri="{28A0092B-C50C-407E-A947-70E740481C1C}">
                <a14:useLocalDpi xmlns:a14="http://schemas.microsoft.com/office/drawing/2010/main" val="0"/>
              </a:ext>
            </a:extLst>
          </a:blip>
          <a:srcRect b="14312"/>
          <a:stretch/>
        </p:blipFill>
        <p:spPr>
          <a:xfrm>
            <a:off x="152402" y="4764203"/>
            <a:ext cx="5264405" cy="2017896"/>
          </a:xfrm>
          <a:prstGeom prst="rect">
            <a:avLst/>
          </a:prstGeom>
        </p:spPr>
      </p:pic>
      <p:pic>
        <p:nvPicPr>
          <p:cNvPr id="19" name="Picture 18" descr="A close up of text on a white background&#10;&#10;Description automatically generated">
            <a:extLst>
              <a:ext uri="{FF2B5EF4-FFF2-40B4-BE49-F238E27FC236}">
                <a16:creationId xmlns:a16="http://schemas.microsoft.com/office/drawing/2014/main" id="{7CF573C8-B3E1-44B4-8D9A-9702D6AA2E12}"/>
              </a:ext>
            </a:extLst>
          </p:cNvPr>
          <p:cNvPicPr>
            <a:picLocks noChangeAspect="1"/>
          </p:cNvPicPr>
          <p:nvPr/>
        </p:nvPicPr>
        <p:blipFill rotWithShape="1">
          <a:blip r:embed="rId5">
            <a:extLst>
              <a:ext uri="{28A0092B-C50C-407E-A947-70E740481C1C}">
                <a14:useLocalDpi xmlns:a14="http://schemas.microsoft.com/office/drawing/2010/main" val="0"/>
              </a:ext>
            </a:extLst>
          </a:blip>
          <a:srcRect b="20862"/>
          <a:stretch/>
        </p:blipFill>
        <p:spPr>
          <a:xfrm>
            <a:off x="6203592" y="2838228"/>
            <a:ext cx="5643338" cy="1997798"/>
          </a:xfrm>
          <a:prstGeom prst="rect">
            <a:avLst/>
          </a:prstGeom>
        </p:spPr>
      </p:pic>
      <p:pic>
        <p:nvPicPr>
          <p:cNvPr id="22" name="Picture 21" descr="A screenshot of a cell phone&#10;&#10;Description automatically generated">
            <a:extLst>
              <a:ext uri="{FF2B5EF4-FFF2-40B4-BE49-F238E27FC236}">
                <a16:creationId xmlns:a16="http://schemas.microsoft.com/office/drawing/2014/main" id="{0BD41B8F-69AB-4A1A-A182-384FFAC1FE45}"/>
              </a:ext>
            </a:extLst>
          </p:cNvPr>
          <p:cNvPicPr>
            <a:picLocks noChangeAspect="1"/>
          </p:cNvPicPr>
          <p:nvPr/>
        </p:nvPicPr>
        <p:blipFill rotWithShape="1">
          <a:blip r:embed="rId6">
            <a:extLst>
              <a:ext uri="{28A0092B-C50C-407E-A947-70E740481C1C}">
                <a14:useLocalDpi xmlns:a14="http://schemas.microsoft.com/office/drawing/2010/main" val="0"/>
              </a:ext>
            </a:extLst>
          </a:blip>
          <a:srcRect l="1250" t="3894" r="2302" b="4555"/>
          <a:stretch/>
        </p:blipFill>
        <p:spPr>
          <a:xfrm>
            <a:off x="6548815" y="4885334"/>
            <a:ext cx="4952891" cy="2103120"/>
          </a:xfrm>
          <a:prstGeom prst="rect">
            <a:avLst/>
          </a:prstGeom>
        </p:spPr>
      </p:pic>
    </p:spTree>
    <p:extLst>
      <p:ext uri="{BB962C8B-B14F-4D97-AF65-F5344CB8AC3E}">
        <p14:creationId xmlns:p14="http://schemas.microsoft.com/office/powerpoint/2010/main" val="37144586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3EFFFF4-E343-426E-94BC-E90D36896D18}"/>
              </a:ext>
            </a:extLst>
          </p:cNvPr>
          <p:cNvPicPr>
            <a:picLocks noChangeAspect="1"/>
          </p:cNvPicPr>
          <p:nvPr/>
        </p:nvPicPr>
        <p:blipFill rotWithShape="1">
          <a:blip r:embed="rId2"/>
          <a:srcRect l="13324" t="7165" r="15166"/>
          <a:stretch/>
        </p:blipFill>
        <p:spPr>
          <a:xfrm>
            <a:off x="4831307" y="9940"/>
            <a:ext cx="7041761" cy="6857999"/>
          </a:xfrm>
          <a:prstGeom prst="rect">
            <a:avLst/>
          </a:prstGeom>
        </p:spPr>
      </p:pic>
      <p:sp>
        <p:nvSpPr>
          <p:cNvPr id="8" name="Rectangle 7">
            <a:extLst>
              <a:ext uri="{FF2B5EF4-FFF2-40B4-BE49-F238E27FC236}">
                <a16:creationId xmlns:a16="http://schemas.microsoft.com/office/drawing/2014/main" id="{CB576540-4044-4DE5-8B50-5BD82582C681}"/>
              </a:ext>
            </a:extLst>
          </p:cNvPr>
          <p:cNvSpPr/>
          <p:nvPr/>
        </p:nvSpPr>
        <p:spPr>
          <a:xfrm>
            <a:off x="318932" y="2175765"/>
            <a:ext cx="4021056" cy="3170099"/>
          </a:xfrm>
          <a:prstGeom prst="rect">
            <a:avLst/>
          </a:prstGeom>
        </p:spPr>
        <p:txBody>
          <a:bodyPr wrap="square">
            <a:spAutoFit/>
          </a:bodyPr>
          <a:lstStyle/>
          <a:p>
            <a:r>
              <a:rPr lang="en-US" sz="2400" dirty="0"/>
              <a:t>“Soil health, also referred to as soil quality, is defined as the continued capacity of soil to function as a vital living ecosystem that sustains plants, animals, and humans.”</a:t>
            </a:r>
          </a:p>
          <a:p>
            <a:endParaRPr lang="en-US" sz="2400" dirty="0"/>
          </a:p>
          <a:p>
            <a:r>
              <a:rPr lang="en-US" sz="1600" dirty="0">
                <a:hlinkClick r:id="rId3"/>
              </a:rPr>
              <a:t>https://www.nrcs.usda.gov/wps/portal/nrcs/main/soils/health/</a:t>
            </a:r>
            <a:r>
              <a:rPr lang="en-US" sz="1600" dirty="0"/>
              <a:t> (accessed 1/2/2019)</a:t>
            </a:r>
          </a:p>
        </p:txBody>
      </p:sp>
    </p:spTree>
    <p:extLst>
      <p:ext uri="{BB962C8B-B14F-4D97-AF65-F5344CB8AC3E}">
        <p14:creationId xmlns:p14="http://schemas.microsoft.com/office/powerpoint/2010/main" val="19289613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FF1528-B381-4214-8684-2D1D6B9C9278}"/>
              </a:ext>
            </a:extLst>
          </p:cNvPr>
          <p:cNvSpPr>
            <a:spLocks noGrp="1"/>
          </p:cNvSpPr>
          <p:nvPr>
            <p:ph type="title"/>
          </p:nvPr>
        </p:nvSpPr>
        <p:spPr>
          <a:xfrm>
            <a:off x="191119" y="-36172"/>
            <a:ext cx="10515600" cy="1325563"/>
          </a:xfrm>
        </p:spPr>
        <p:txBody>
          <a:bodyPr>
            <a:normAutofit/>
          </a:bodyPr>
          <a:lstStyle/>
          <a:p>
            <a:r>
              <a:rPr lang="en-US" sz="4000" b="1" dirty="0">
                <a:solidFill>
                  <a:schemeClr val="tx1">
                    <a:lumMod val="75000"/>
                    <a:lumOff val="25000"/>
                  </a:schemeClr>
                </a:solidFill>
                <a:latin typeface="Palatino Linotype" panose="02040502050505030304" pitchFamily="18" charset="0"/>
              </a:rPr>
              <a:t>Soil Carbon and Biogeochemistry:</a:t>
            </a:r>
            <a:br>
              <a:rPr lang="en-US" sz="4000" b="1" dirty="0">
                <a:solidFill>
                  <a:schemeClr val="tx1">
                    <a:lumMod val="75000"/>
                    <a:lumOff val="25000"/>
                  </a:schemeClr>
                </a:solidFill>
                <a:latin typeface="Palatino Linotype" panose="02040502050505030304" pitchFamily="18" charset="0"/>
              </a:rPr>
            </a:br>
            <a:r>
              <a:rPr lang="en-US" sz="4000" b="1" dirty="0">
                <a:solidFill>
                  <a:schemeClr val="tx1">
                    <a:lumMod val="75000"/>
                    <a:lumOff val="25000"/>
                  </a:schemeClr>
                </a:solidFill>
                <a:latin typeface="Palatino Linotype" panose="02040502050505030304" pitchFamily="18" charset="0"/>
              </a:rPr>
              <a:t>Wetland Scientist Conceptual Model :</a:t>
            </a:r>
          </a:p>
        </p:txBody>
      </p:sp>
      <p:pic>
        <p:nvPicPr>
          <p:cNvPr id="4" name="Picture 9" descr="Vitt">
            <a:extLst>
              <a:ext uri="{FF2B5EF4-FFF2-40B4-BE49-F238E27FC236}">
                <a16:creationId xmlns:a16="http://schemas.microsoft.com/office/drawing/2014/main" id="{C24CC5B2-9050-46E3-A586-F74E713894CA}"/>
              </a:ext>
            </a:extLst>
          </p:cNvPr>
          <p:cNvPicPr>
            <a:picLocks noChangeAspect="1" noChangeArrowheads="1"/>
          </p:cNvPicPr>
          <p:nvPr/>
        </p:nvPicPr>
        <p:blipFill rotWithShape="1">
          <a:blip r:embed="rId2" cstate="print"/>
          <a:srcRect l="7554" r="8540"/>
          <a:stretch/>
        </p:blipFill>
        <p:spPr bwMode="auto">
          <a:xfrm>
            <a:off x="3228396" y="1325563"/>
            <a:ext cx="5735208" cy="5281683"/>
          </a:xfrm>
          <a:prstGeom prst="rect">
            <a:avLst/>
          </a:prstGeom>
          <a:noFill/>
        </p:spPr>
      </p:pic>
      <p:sp>
        <p:nvSpPr>
          <p:cNvPr id="5" name="Text Box 4">
            <a:extLst>
              <a:ext uri="{FF2B5EF4-FFF2-40B4-BE49-F238E27FC236}">
                <a16:creationId xmlns:a16="http://schemas.microsoft.com/office/drawing/2014/main" id="{79011864-CD9D-4EED-893A-B210F50BCF46}"/>
              </a:ext>
            </a:extLst>
          </p:cNvPr>
          <p:cNvSpPr txBox="1">
            <a:spLocks noChangeArrowheads="1"/>
          </p:cNvSpPr>
          <p:nvPr/>
        </p:nvSpPr>
        <p:spPr bwMode="auto">
          <a:xfrm>
            <a:off x="6877466" y="5770128"/>
            <a:ext cx="1716088" cy="274637"/>
          </a:xfrm>
          <a:prstGeom prst="rect">
            <a:avLst/>
          </a:prstGeom>
          <a:noFill/>
          <a:ln w="9525" algn="ctr">
            <a:noFill/>
            <a:miter lim="800000"/>
            <a:headEnd/>
            <a:tailEnd/>
          </a:ln>
          <a:effectLst/>
        </p:spPr>
        <p:txBody>
          <a:bodyPr wrap="none">
            <a:spAutoFit/>
          </a:bodyPr>
          <a:lstStyle/>
          <a:p>
            <a:pPr algn="ctr"/>
            <a:r>
              <a:rPr lang="en-US" sz="1200" i="1" baseline="0" dirty="0" err="1">
                <a:solidFill>
                  <a:srgbClr val="080808"/>
                </a:solidFill>
                <a:latin typeface="Verdana" pitchFamily="34" charset="0"/>
              </a:rPr>
              <a:t>Zoltai</a:t>
            </a:r>
            <a:r>
              <a:rPr lang="en-US" sz="1200" i="1" baseline="0" dirty="0">
                <a:solidFill>
                  <a:srgbClr val="080808"/>
                </a:solidFill>
                <a:latin typeface="Verdana" pitchFamily="34" charset="0"/>
              </a:rPr>
              <a:t> and </a:t>
            </a:r>
            <a:r>
              <a:rPr lang="en-US" sz="1200" i="1" baseline="0" dirty="0" err="1">
                <a:solidFill>
                  <a:srgbClr val="080808"/>
                </a:solidFill>
                <a:latin typeface="Verdana" pitchFamily="34" charset="0"/>
              </a:rPr>
              <a:t>Vitt</a:t>
            </a:r>
            <a:r>
              <a:rPr lang="en-US" sz="1200" i="1" baseline="0" dirty="0">
                <a:solidFill>
                  <a:srgbClr val="080808"/>
                </a:solidFill>
                <a:latin typeface="Verdana" pitchFamily="34" charset="0"/>
              </a:rPr>
              <a:t> 1995</a:t>
            </a:r>
          </a:p>
        </p:txBody>
      </p:sp>
      <p:pic>
        <p:nvPicPr>
          <p:cNvPr id="7" name="Picture 6">
            <a:extLst>
              <a:ext uri="{FF2B5EF4-FFF2-40B4-BE49-F238E27FC236}">
                <a16:creationId xmlns:a16="http://schemas.microsoft.com/office/drawing/2014/main" id="{23A2FFB2-6330-4EAE-992F-AD70FD0D822B}"/>
              </a:ext>
            </a:extLst>
          </p:cNvPr>
          <p:cNvPicPr>
            <a:picLocks noChangeAspect="1"/>
          </p:cNvPicPr>
          <p:nvPr/>
        </p:nvPicPr>
        <p:blipFill>
          <a:blip r:embed="rId3"/>
          <a:stretch>
            <a:fillRect/>
          </a:stretch>
        </p:blipFill>
        <p:spPr>
          <a:xfrm>
            <a:off x="9006575" y="2608289"/>
            <a:ext cx="3185425" cy="2716231"/>
          </a:xfrm>
          <a:prstGeom prst="rect">
            <a:avLst/>
          </a:prstGeom>
        </p:spPr>
      </p:pic>
      <p:sp>
        <p:nvSpPr>
          <p:cNvPr id="8" name="Text Box 4">
            <a:extLst>
              <a:ext uri="{FF2B5EF4-FFF2-40B4-BE49-F238E27FC236}">
                <a16:creationId xmlns:a16="http://schemas.microsoft.com/office/drawing/2014/main" id="{69398C18-64BB-4DFC-A881-6E08E11EB99D}"/>
              </a:ext>
            </a:extLst>
          </p:cNvPr>
          <p:cNvSpPr txBox="1">
            <a:spLocks noChangeArrowheads="1"/>
          </p:cNvSpPr>
          <p:nvPr/>
        </p:nvSpPr>
        <p:spPr bwMode="auto">
          <a:xfrm>
            <a:off x="10860825" y="5229257"/>
            <a:ext cx="1212191" cy="276999"/>
          </a:xfrm>
          <a:prstGeom prst="rect">
            <a:avLst/>
          </a:prstGeom>
          <a:noFill/>
          <a:ln w="9525" algn="ctr">
            <a:noFill/>
            <a:miter lim="800000"/>
            <a:headEnd/>
            <a:tailEnd/>
          </a:ln>
          <a:effectLst/>
        </p:spPr>
        <p:txBody>
          <a:bodyPr wrap="none">
            <a:spAutoFit/>
          </a:bodyPr>
          <a:lstStyle/>
          <a:p>
            <a:pPr algn="ctr"/>
            <a:r>
              <a:rPr lang="en-US" sz="1200" i="1" dirty="0">
                <a:solidFill>
                  <a:srgbClr val="080808"/>
                </a:solidFill>
                <a:latin typeface="Verdana" pitchFamily="34" charset="0"/>
              </a:rPr>
              <a:t>Brinson 1993</a:t>
            </a:r>
          </a:p>
        </p:txBody>
      </p:sp>
      <p:pic>
        <p:nvPicPr>
          <p:cNvPr id="9" name="Picture 2" descr="Image result for surface water groundwater single resource">
            <a:extLst>
              <a:ext uri="{FF2B5EF4-FFF2-40B4-BE49-F238E27FC236}">
                <a16:creationId xmlns:a16="http://schemas.microsoft.com/office/drawing/2014/main" id="{973226F3-D9DE-4FFD-AF3E-E7D87AA687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1119" y="1917651"/>
            <a:ext cx="3080248" cy="4106997"/>
          </a:xfrm>
          <a:prstGeom prst="rect">
            <a:avLst/>
          </a:prstGeom>
          <a:noFill/>
          <a:extLst>
            <a:ext uri="{909E8E84-426E-40DD-AFC4-6F175D3DCCD1}">
              <a14:hiddenFill xmlns:a14="http://schemas.microsoft.com/office/drawing/2010/main">
                <a:solidFill>
                  <a:srgbClr val="FFFFFF"/>
                </a:solidFill>
              </a14:hiddenFill>
            </a:ext>
          </a:extLst>
        </p:spPr>
      </p:pic>
      <p:sp>
        <p:nvSpPr>
          <p:cNvPr id="10" name="Text Box 4">
            <a:extLst>
              <a:ext uri="{FF2B5EF4-FFF2-40B4-BE49-F238E27FC236}">
                <a16:creationId xmlns:a16="http://schemas.microsoft.com/office/drawing/2014/main" id="{91E4AA54-9CEB-4208-BA27-AAC874D57805}"/>
              </a:ext>
            </a:extLst>
          </p:cNvPr>
          <p:cNvSpPr txBox="1">
            <a:spLocks noChangeArrowheads="1"/>
          </p:cNvSpPr>
          <p:nvPr/>
        </p:nvSpPr>
        <p:spPr bwMode="auto">
          <a:xfrm>
            <a:off x="191119" y="6024648"/>
            <a:ext cx="1140056" cy="276999"/>
          </a:xfrm>
          <a:prstGeom prst="rect">
            <a:avLst/>
          </a:prstGeom>
          <a:noFill/>
          <a:ln w="9525" algn="ctr">
            <a:noFill/>
            <a:miter lim="800000"/>
            <a:headEnd/>
            <a:tailEnd/>
          </a:ln>
          <a:effectLst/>
        </p:spPr>
        <p:txBody>
          <a:bodyPr wrap="none">
            <a:spAutoFit/>
          </a:bodyPr>
          <a:lstStyle/>
          <a:p>
            <a:pPr algn="ctr"/>
            <a:r>
              <a:rPr lang="en-US" sz="1200" i="1" dirty="0">
                <a:solidFill>
                  <a:srgbClr val="080808"/>
                </a:solidFill>
                <a:latin typeface="Verdana" pitchFamily="34" charset="0"/>
              </a:rPr>
              <a:t>Winter 1998</a:t>
            </a:r>
          </a:p>
        </p:txBody>
      </p:sp>
      <p:sp>
        <p:nvSpPr>
          <p:cNvPr id="3" name="Oval 2">
            <a:extLst>
              <a:ext uri="{FF2B5EF4-FFF2-40B4-BE49-F238E27FC236}">
                <a16:creationId xmlns:a16="http://schemas.microsoft.com/office/drawing/2014/main" id="{5E8BE8CA-227A-412F-9AB7-9A5F2054F486}"/>
              </a:ext>
            </a:extLst>
          </p:cNvPr>
          <p:cNvSpPr/>
          <p:nvPr/>
        </p:nvSpPr>
        <p:spPr>
          <a:xfrm rot="2640016">
            <a:off x="7523569" y="3534022"/>
            <a:ext cx="246067" cy="2993230"/>
          </a:xfrm>
          <a:prstGeom prst="ellipse">
            <a:avLst/>
          </a:prstGeom>
          <a:solidFill>
            <a:srgbClr val="FFFF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AB879ED8-FD14-465D-8D14-7C5286637AB2}"/>
              </a:ext>
            </a:extLst>
          </p:cNvPr>
          <p:cNvSpPr/>
          <p:nvPr/>
        </p:nvSpPr>
        <p:spPr>
          <a:xfrm rot="8098956">
            <a:off x="4901075" y="3982179"/>
            <a:ext cx="246067" cy="1830519"/>
          </a:xfrm>
          <a:prstGeom prst="ellipse">
            <a:avLst/>
          </a:prstGeom>
          <a:solidFill>
            <a:srgbClr val="FFFF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FF187844-8B70-4C25-B0EB-08E65E7AFBA1}"/>
              </a:ext>
            </a:extLst>
          </p:cNvPr>
          <p:cNvSpPr/>
          <p:nvPr/>
        </p:nvSpPr>
        <p:spPr>
          <a:xfrm rot="5400000">
            <a:off x="6005855" y="1890946"/>
            <a:ext cx="223260" cy="1830519"/>
          </a:xfrm>
          <a:prstGeom prst="ellipse">
            <a:avLst/>
          </a:prstGeom>
          <a:solidFill>
            <a:srgbClr val="FFFF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E1ED982-60DF-49FE-B83A-3C6C8BED64BD}"/>
              </a:ext>
            </a:extLst>
          </p:cNvPr>
          <p:cNvSpPr txBox="1"/>
          <p:nvPr/>
        </p:nvSpPr>
        <p:spPr>
          <a:xfrm>
            <a:off x="9037859" y="5506256"/>
            <a:ext cx="3122855" cy="830997"/>
          </a:xfrm>
          <a:prstGeom prst="rect">
            <a:avLst/>
          </a:prstGeom>
          <a:noFill/>
        </p:spPr>
        <p:txBody>
          <a:bodyPr wrap="square" rtlCol="0">
            <a:spAutoFit/>
          </a:bodyPr>
          <a:lstStyle/>
          <a:p>
            <a:pPr algn="ctr"/>
            <a:r>
              <a:rPr lang="en-US" sz="1600" dirty="0">
                <a:solidFill>
                  <a:schemeClr val="accent1"/>
                </a:solidFill>
                <a:latin typeface="Palatino Linotype" panose="02040502050505030304" pitchFamily="18" charset="0"/>
              </a:rPr>
              <a:t>Ground- and surface- water interactions predictably change along landscape gradients.</a:t>
            </a:r>
          </a:p>
        </p:txBody>
      </p:sp>
    </p:spTree>
    <p:extLst>
      <p:ext uri="{BB962C8B-B14F-4D97-AF65-F5344CB8AC3E}">
        <p14:creationId xmlns:p14="http://schemas.microsoft.com/office/powerpoint/2010/main" val="2943528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94D9B-81CF-415F-BD61-491AB66E1435}"/>
              </a:ext>
            </a:extLst>
          </p:cNvPr>
          <p:cNvPicPr>
            <a:picLocks noChangeAspect="1"/>
          </p:cNvPicPr>
          <p:nvPr/>
        </p:nvPicPr>
        <p:blipFill>
          <a:blip r:embed="rId2"/>
          <a:stretch>
            <a:fillRect/>
          </a:stretch>
        </p:blipFill>
        <p:spPr>
          <a:xfrm>
            <a:off x="4660856" y="1446662"/>
            <a:ext cx="7181211" cy="4401693"/>
          </a:xfrm>
          <a:prstGeom prst="rect">
            <a:avLst/>
          </a:prstGeom>
        </p:spPr>
      </p:pic>
      <p:pic>
        <p:nvPicPr>
          <p:cNvPr id="5" name="Picture 4">
            <a:extLst>
              <a:ext uri="{FF2B5EF4-FFF2-40B4-BE49-F238E27FC236}">
                <a16:creationId xmlns:a16="http://schemas.microsoft.com/office/drawing/2014/main" id="{EF0BF3FD-6CF9-4A96-B7CD-CDFE4A51DC4A}"/>
              </a:ext>
            </a:extLst>
          </p:cNvPr>
          <p:cNvPicPr>
            <a:picLocks noChangeAspect="1"/>
          </p:cNvPicPr>
          <p:nvPr/>
        </p:nvPicPr>
        <p:blipFill rotWithShape="1">
          <a:blip r:embed="rId3"/>
          <a:srcRect l="28097" t="13370" r="32500" b="5826"/>
          <a:stretch/>
        </p:blipFill>
        <p:spPr>
          <a:xfrm>
            <a:off x="0" y="1227619"/>
            <a:ext cx="4718618" cy="5241419"/>
          </a:xfrm>
          <a:prstGeom prst="rect">
            <a:avLst/>
          </a:prstGeom>
        </p:spPr>
      </p:pic>
      <p:sp>
        <p:nvSpPr>
          <p:cNvPr id="6" name="Title 5">
            <a:extLst>
              <a:ext uri="{FF2B5EF4-FFF2-40B4-BE49-F238E27FC236}">
                <a16:creationId xmlns:a16="http://schemas.microsoft.com/office/drawing/2014/main" id="{5D61623E-7C80-4B32-8E86-C45F46160D28}"/>
              </a:ext>
            </a:extLst>
          </p:cNvPr>
          <p:cNvSpPr>
            <a:spLocks noGrp="1"/>
          </p:cNvSpPr>
          <p:nvPr>
            <p:ph type="title"/>
          </p:nvPr>
        </p:nvSpPr>
        <p:spPr>
          <a:xfrm>
            <a:off x="122830" y="-208081"/>
            <a:ext cx="12192000" cy="1325563"/>
          </a:xfrm>
        </p:spPr>
        <p:txBody>
          <a:bodyPr>
            <a:normAutofit/>
          </a:bodyPr>
          <a:lstStyle/>
          <a:p>
            <a:r>
              <a:rPr lang="en-US" sz="3600" b="1" dirty="0">
                <a:latin typeface="Palatino Linotype" panose="02040502050505030304" pitchFamily="18" charset="0"/>
              </a:rPr>
              <a:t>Water Table Controls Distribution of Prime Ag Lands</a:t>
            </a:r>
          </a:p>
        </p:txBody>
      </p:sp>
      <p:pic>
        <p:nvPicPr>
          <p:cNvPr id="7" name="Picture 6">
            <a:extLst>
              <a:ext uri="{FF2B5EF4-FFF2-40B4-BE49-F238E27FC236}">
                <a16:creationId xmlns:a16="http://schemas.microsoft.com/office/drawing/2014/main" id="{5A70AA45-A2FD-4744-9564-2B2C0CCB1963}"/>
              </a:ext>
            </a:extLst>
          </p:cNvPr>
          <p:cNvPicPr>
            <a:picLocks noChangeAspect="1"/>
          </p:cNvPicPr>
          <p:nvPr/>
        </p:nvPicPr>
        <p:blipFill rotWithShape="1">
          <a:blip r:embed="rId4"/>
          <a:srcRect l="3281" t="52935" r="41881" b="31941"/>
          <a:stretch/>
        </p:blipFill>
        <p:spPr>
          <a:xfrm>
            <a:off x="7347044" y="5923440"/>
            <a:ext cx="4844956" cy="934560"/>
          </a:xfrm>
          <a:prstGeom prst="rect">
            <a:avLst/>
          </a:prstGeom>
        </p:spPr>
      </p:pic>
    </p:spTree>
    <p:extLst>
      <p:ext uri="{BB962C8B-B14F-4D97-AF65-F5344CB8AC3E}">
        <p14:creationId xmlns:p14="http://schemas.microsoft.com/office/powerpoint/2010/main" val="18760486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088B6D4-1139-4D1B-A9B4-BD2A902F8AA3}"/>
              </a:ext>
            </a:extLst>
          </p:cNvPr>
          <p:cNvPicPr>
            <a:picLocks noChangeAspect="1"/>
          </p:cNvPicPr>
          <p:nvPr/>
        </p:nvPicPr>
        <p:blipFill>
          <a:blip r:embed="rId2"/>
          <a:stretch>
            <a:fillRect/>
          </a:stretch>
        </p:blipFill>
        <p:spPr>
          <a:xfrm>
            <a:off x="2495188" y="1454619"/>
            <a:ext cx="5604413" cy="2389249"/>
          </a:xfrm>
          <a:prstGeom prst="rect">
            <a:avLst/>
          </a:prstGeom>
        </p:spPr>
      </p:pic>
      <p:sp>
        <p:nvSpPr>
          <p:cNvPr id="21" name="Title 6">
            <a:extLst>
              <a:ext uri="{FF2B5EF4-FFF2-40B4-BE49-F238E27FC236}">
                <a16:creationId xmlns:a16="http://schemas.microsoft.com/office/drawing/2014/main" id="{655E8526-5338-4729-810A-B2F4E70F9834}"/>
              </a:ext>
            </a:extLst>
          </p:cNvPr>
          <p:cNvSpPr txBox="1">
            <a:spLocks noGrp="1"/>
          </p:cNvSpPr>
          <p:nvPr>
            <p:ph type="title"/>
          </p:nvPr>
        </p:nvSpPr>
        <p:spPr>
          <a:xfrm>
            <a:off x="301671" y="-40548"/>
            <a:ext cx="11588658" cy="120032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tx1">
                    <a:lumMod val="65000"/>
                    <a:lumOff val="35000"/>
                  </a:schemeClr>
                </a:solidFill>
                <a:effectLst/>
                <a:uLnTx/>
                <a:uFillTx/>
                <a:latin typeface="Palatino Linotype" panose="02040502050505030304" pitchFamily="18" charset="0"/>
                <a:ea typeface="+mn-ea"/>
                <a:cs typeface="Arial" panose="020B0604020202020204" pitchFamily="34" charset="0"/>
              </a:rPr>
              <a:t>Linking Soil and Watershed Health to In-Field and Edge-of-Field Water Management: </a:t>
            </a:r>
            <a:r>
              <a:rPr kumimoji="0" lang="en-US" sz="3600" b="1" i="0" u="none" strike="noStrike" kern="1200" cap="none" spc="0" normalizeH="0" baseline="0" noProof="0" dirty="0">
                <a:ln>
                  <a:noFill/>
                </a:ln>
                <a:solidFill>
                  <a:schemeClr val="tx1"/>
                </a:solidFill>
                <a:effectLst/>
                <a:uLnTx/>
                <a:uFillTx/>
                <a:latin typeface="Palatino Linotype" panose="02040502050505030304" pitchFamily="18" charset="0"/>
                <a:ea typeface="+mn-ea"/>
                <a:cs typeface="Arial" panose="020B0604020202020204" pitchFamily="34" charset="0"/>
              </a:rPr>
              <a:t>Alternative Models</a:t>
            </a:r>
            <a:endParaRPr kumimoji="0" lang="en-US" sz="3600" b="0" i="0" u="none" strike="noStrike" kern="1200" cap="none" spc="0" normalizeH="0" baseline="0" noProof="0" dirty="0">
              <a:ln>
                <a:noFill/>
              </a:ln>
              <a:solidFill>
                <a:schemeClr val="tx1"/>
              </a:solidFill>
              <a:effectLst/>
              <a:uLnTx/>
              <a:uFillTx/>
              <a:latin typeface="Palatino Linotype" panose="02040502050505030304" pitchFamily="18" charset="0"/>
              <a:ea typeface="+mn-ea"/>
              <a:cs typeface="Arial" panose="020B0604020202020204" pitchFamily="34" charset="0"/>
            </a:endParaRPr>
          </a:p>
        </p:txBody>
      </p:sp>
      <p:pic>
        <p:nvPicPr>
          <p:cNvPr id="3" name="Picture 2">
            <a:extLst>
              <a:ext uri="{FF2B5EF4-FFF2-40B4-BE49-F238E27FC236}">
                <a16:creationId xmlns:a16="http://schemas.microsoft.com/office/drawing/2014/main" id="{1E8760CE-E8EB-49BA-88A0-3E06B59A8ADD}"/>
              </a:ext>
            </a:extLst>
          </p:cNvPr>
          <p:cNvPicPr>
            <a:picLocks noChangeAspect="1"/>
          </p:cNvPicPr>
          <p:nvPr/>
        </p:nvPicPr>
        <p:blipFill>
          <a:blip r:embed="rId3"/>
          <a:stretch>
            <a:fillRect/>
          </a:stretch>
        </p:blipFill>
        <p:spPr>
          <a:xfrm>
            <a:off x="2495188" y="3599294"/>
            <a:ext cx="10533244" cy="3089189"/>
          </a:xfrm>
          <a:prstGeom prst="rect">
            <a:avLst/>
          </a:prstGeom>
        </p:spPr>
      </p:pic>
      <p:sp>
        <p:nvSpPr>
          <p:cNvPr id="22" name="TextBox 21">
            <a:extLst>
              <a:ext uri="{FF2B5EF4-FFF2-40B4-BE49-F238E27FC236}">
                <a16:creationId xmlns:a16="http://schemas.microsoft.com/office/drawing/2014/main" id="{C591B7F2-F940-4944-BA32-EE8A5C3C24B2}"/>
              </a:ext>
            </a:extLst>
          </p:cNvPr>
          <p:cNvSpPr txBox="1"/>
          <p:nvPr/>
        </p:nvSpPr>
        <p:spPr>
          <a:xfrm rot="20992154">
            <a:off x="-239023" y="3539191"/>
            <a:ext cx="2759055" cy="1015663"/>
          </a:xfrm>
          <a:prstGeom prst="rect">
            <a:avLst/>
          </a:prstGeom>
          <a:noFill/>
        </p:spPr>
        <p:txBody>
          <a:bodyPr wrap="square" rtlCol="0">
            <a:spAutoFit/>
          </a:bodyPr>
          <a:lstStyle/>
          <a:p>
            <a:pPr algn="ctr"/>
            <a:r>
              <a:rPr lang="en-US" sz="6000" b="1" u="sng" dirty="0">
                <a:solidFill>
                  <a:srgbClr val="9BBB59">
                    <a:lumMod val="75000"/>
                  </a:srgbClr>
                </a:solidFill>
                <a:latin typeface="Lucida Handwriting" panose="03010101010101010101" pitchFamily="66" charset="0"/>
              </a:rPr>
              <a:t>or</a:t>
            </a:r>
          </a:p>
        </p:txBody>
      </p:sp>
    </p:spTree>
    <p:extLst>
      <p:ext uri="{BB962C8B-B14F-4D97-AF65-F5344CB8AC3E}">
        <p14:creationId xmlns:p14="http://schemas.microsoft.com/office/powerpoint/2010/main" val="31842445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777833-194F-46FD-BF83-CB8D7000D7CD}"/>
              </a:ext>
            </a:extLst>
          </p:cNvPr>
          <p:cNvSpPr>
            <a:spLocks noGrp="1"/>
          </p:cNvSpPr>
          <p:nvPr>
            <p:ph idx="1"/>
          </p:nvPr>
        </p:nvSpPr>
        <p:spPr>
          <a:xfrm>
            <a:off x="355600" y="1862667"/>
            <a:ext cx="11480799" cy="4023360"/>
          </a:xfrm>
        </p:spPr>
        <p:txBody>
          <a:bodyPr>
            <a:noAutofit/>
          </a:bodyPr>
          <a:lstStyle/>
          <a:p>
            <a:pPr marL="0" indent="0">
              <a:spcAft>
                <a:spcPts val="600"/>
              </a:spcAft>
              <a:buNone/>
            </a:pPr>
            <a:r>
              <a:rPr lang="en-US" sz="3200" b="1" dirty="0">
                <a:latin typeface="Palatino Linotype" panose="02040502050505030304" pitchFamily="18" charset="0"/>
              </a:rPr>
              <a:t>Key Questions:</a:t>
            </a:r>
            <a:endParaRPr lang="en-US" sz="3200" dirty="0">
              <a:latin typeface="Palatino Linotype" panose="02040502050505030304" pitchFamily="18" charset="0"/>
            </a:endParaRPr>
          </a:p>
          <a:p>
            <a:pPr marL="457200" indent="-457200">
              <a:spcAft>
                <a:spcPts val="600"/>
              </a:spcAft>
              <a:buFont typeface="Wingdings" panose="05000000000000000000" pitchFamily="2" charset="2"/>
              <a:buChar char="Ø"/>
            </a:pPr>
            <a:r>
              <a:rPr lang="en-US" sz="3200" dirty="0">
                <a:latin typeface="Palatino Linotype" panose="02040502050505030304" pitchFamily="18" charset="0"/>
              </a:rPr>
              <a:t>Is there need and capacity for “Precision Drainage”?</a:t>
            </a:r>
          </a:p>
          <a:p>
            <a:pPr marL="457200" indent="-457200">
              <a:spcAft>
                <a:spcPts val="600"/>
              </a:spcAft>
              <a:buFont typeface="Wingdings" panose="05000000000000000000" pitchFamily="2" charset="2"/>
              <a:buChar char="Ø"/>
            </a:pPr>
            <a:r>
              <a:rPr lang="en-US" sz="3200" dirty="0">
                <a:solidFill>
                  <a:schemeClr val="tx1">
                    <a:lumMod val="50000"/>
                    <a:lumOff val="50000"/>
                  </a:schemeClr>
                </a:solidFill>
                <a:latin typeface="Palatino Linotype" panose="02040502050505030304" pitchFamily="18" charset="0"/>
              </a:rPr>
              <a:t>Likelihood of creating a win-win:  Can shallow groundwater management enhance soil and watershed health, tackle climate change AND maximize crop yields?</a:t>
            </a:r>
          </a:p>
          <a:p>
            <a:pPr marL="457200" indent="-457200">
              <a:spcAft>
                <a:spcPts val="600"/>
              </a:spcAft>
              <a:buFont typeface="Wingdings" panose="05000000000000000000" pitchFamily="2" charset="2"/>
              <a:buChar char="Ø"/>
            </a:pPr>
            <a:r>
              <a:rPr lang="en-US" sz="3200" dirty="0">
                <a:latin typeface="Palatino Linotype" panose="02040502050505030304" pitchFamily="18" charset="0"/>
              </a:rPr>
              <a:t>What (and where) are most promising opportunities to promote soil and watershed health?</a:t>
            </a:r>
          </a:p>
          <a:p>
            <a:pPr marL="457200" indent="-457200">
              <a:spcAft>
                <a:spcPts val="600"/>
              </a:spcAft>
              <a:buFont typeface="Wingdings" panose="05000000000000000000" pitchFamily="2" charset="2"/>
              <a:buChar char="Ø"/>
            </a:pPr>
            <a:r>
              <a:rPr lang="en-US" sz="3200" dirty="0">
                <a:solidFill>
                  <a:schemeClr val="tx1">
                    <a:lumMod val="50000"/>
                    <a:lumOff val="50000"/>
                  </a:schemeClr>
                </a:solidFill>
                <a:latin typeface="Palatino Linotype" panose="02040502050505030304" pitchFamily="18" charset="0"/>
              </a:rPr>
              <a:t>What stakeholder concerns might influence the adoption of advanced water management best management practices?</a:t>
            </a:r>
          </a:p>
          <a:p>
            <a:pPr>
              <a:spcAft>
                <a:spcPts val="600"/>
              </a:spcAft>
            </a:pPr>
            <a:endParaRPr lang="en-US" sz="3200" dirty="0"/>
          </a:p>
        </p:txBody>
      </p:sp>
      <p:sp>
        <p:nvSpPr>
          <p:cNvPr id="4" name="Title 1">
            <a:extLst>
              <a:ext uri="{FF2B5EF4-FFF2-40B4-BE49-F238E27FC236}">
                <a16:creationId xmlns:a16="http://schemas.microsoft.com/office/drawing/2014/main" id="{5C751B0F-5648-4406-B729-7B16C3A1E46E}"/>
              </a:ext>
            </a:extLst>
          </p:cNvPr>
          <p:cNvSpPr txBox="1">
            <a:spLocks/>
          </p:cNvSpPr>
          <p:nvPr/>
        </p:nvSpPr>
        <p:spPr>
          <a:xfrm>
            <a:off x="1097280" y="-169333"/>
            <a:ext cx="10058400" cy="1693333"/>
          </a:xfrm>
          <a:prstGeom prst="rect">
            <a:avLst/>
          </a:prstGeom>
        </p:spPr>
        <p:txBody>
          <a:bodyPr vert="horz" lIns="91440" tIns="45720" rIns="91440" bIns="45720" rtlCol="0" anchor="b">
            <a:normAutofit fontScale="75000" lnSpcReduction="20000"/>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20000"/>
              </a:lnSpc>
            </a:pPr>
            <a:r>
              <a:rPr lang="en-US" b="1" dirty="0">
                <a:latin typeface="Palatino Linotype" panose="02040502050505030304" pitchFamily="18" charset="0"/>
              </a:rPr>
              <a:t>Linking Soil and Watershed Health to </a:t>
            </a:r>
            <a:br>
              <a:rPr lang="en-US" b="1" dirty="0">
                <a:latin typeface="Palatino Linotype" panose="02040502050505030304" pitchFamily="18" charset="0"/>
              </a:rPr>
            </a:br>
            <a:r>
              <a:rPr lang="en-US" b="1" dirty="0">
                <a:latin typeface="Palatino Linotype" panose="02040502050505030304" pitchFamily="18" charset="0"/>
              </a:rPr>
              <a:t>In-field and Edge-of-Field Water Management </a:t>
            </a:r>
            <a:br>
              <a:rPr lang="en-US" dirty="0">
                <a:latin typeface="Palatino Linotype" panose="02040502050505030304" pitchFamily="18" charset="0"/>
              </a:rPr>
            </a:br>
            <a:r>
              <a:rPr lang="en-US" sz="2700" dirty="0">
                <a:latin typeface="Palatino Linotype" panose="02040502050505030304" pitchFamily="18" charset="0"/>
              </a:rPr>
              <a:t>January 23-24, 2020</a:t>
            </a:r>
          </a:p>
        </p:txBody>
      </p:sp>
    </p:spTree>
    <p:extLst>
      <p:ext uri="{BB962C8B-B14F-4D97-AF65-F5344CB8AC3E}">
        <p14:creationId xmlns:p14="http://schemas.microsoft.com/office/powerpoint/2010/main" val="1662961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etrospect">
  <a:themeElements>
    <a:clrScheme name="Retrospect">
      <a:dk1>
        <a:sysClr val="windowText" lastClr="000000"/>
      </a:dk1>
      <a:lt1>
        <a:sysClr val="window" lastClr="FFFFFF"/>
      </a:lt1>
      <a:dk2>
        <a:srgbClr val="344068"/>
      </a:dk2>
      <a:lt2>
        <a:srgbClr val="D9E0E6"/>
      </a:lt2>
      <a:accent1>
        <a:srgbClr val="1CADE4"/>
      </a:accent1>
      <a:accent2>
        <a:srgbClr val="2683C6"/>
      </a:accent2>
      <a:accent3>
        <a:srgbClr val="28C4CC"/>
      </a:accent3>
      <a:accent4>
        <a:srgbClr val="42BA97"/>
      </a:accent4>
      <a:accent5>
        <a:srgbClr val="3E8853"/>
      </a:accent5>
      <a:accent6>
        <a:srgbClr val="62A39F"/>
      </a:accent6>
      <a:hlink>
        <a:srgbClr val="6EAC1C"/>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3.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Parcel">
  <a:themeElements>
    <a:clrScheme name="Parcel">
      <a:dk1>
        <a:srgbClr val="000000"/>
      </a:dk1>
      <a:lt1>
        <a:srgbClr val="FFFFFF"/>
      </a:lt1>
      <a:dk2>
        <a:srgbClr val="4A5356"/>
      </a:dk2>
      <a:lt2>
        <a:srgbClr val="E8E3CE"/>
      </a:lt2>
      <a:accent1>
        <a:srgbClr val="F6A21D"/>
      </a:accent1>
      <a:accent2>
        <a:srgbClr val="9BAFB5"/>
      </a:accent2>
      <a:accent3>
        <a:srgbClr val="C96731"/>
      </a:accent3>
      <a:accent4>
        <a:srgbClr val="9CA383"/>
      </a:accent4>
      <a:accent5>
        <a:srgbClr val="87795D"/>
      </a:accent5>
      <a:accent6>
        <a:srgbClr val="A0988C"/>
      </a:accent6>
      <a:hlink>
        <a:srgbClr val="00B0F0"/>
      </a:hlink>
      <a:folHlink>
        <a:srgbClr val="738F97"/>
      </a:folHlink>
    </a:clrScheme>
    <a:fontScheme name="Parcel">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1350</TotalTime>
  <Words>578</Words>
  <Application>Microsoft Office PowerPoint</Application>
  <PresentationFormat>Widescreen</PresentationFormat>
  <Paragraphs>110</Paragraphs>
  <Slides>21</Slides>
  <Notes>0</Notes>
  <HiddenSlides>1</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6" baseType="lpstr">
      <vt:lpstr>Arial</vt:lpstr>
      <vt:lpstr>Calibri</vt:lpstr>
      <vt:lpstr>Calibri Light</vt:lpstr>
      <vt:lpstr>Comic Sans MS</vt:lpstr>
      <vt:lpstr>Gill Sans MT</vt:lpstr>
      <vt:lpstr>Lucida Handwriting</vt:lpstr>
      <vt:lpstr>Palatino Linotype</vt:lpstr>
      <vt:lpstr>Trebuchet MS</vt:lpstr>
      <vt:lpstr>Verdana</vt:lpstr>
      <vt:lpstr>Wingdings</vt:lpstr>
      <vt:lpstr>Office Theme</vt:lpstr>
      <vt:lpstr>Retrospect</vt:lpstr>
      <vt:lpstr>BCG Grid 16:9</vt:lpstr>
      <vt:lpstr>Parcel</vt:lpstr>
      <vt:lpstr>think-cell Slide</vt:lpstr>
      <vt:lpstr>PowerPoint Presentation</vt:lpstr>
      <vt:lpstr>Linking Soil and Watershed Health to In-Field and Edge-of-Field Water Management</vt:lpstr>
      <vt:lpstr>Linking Soil and Watershed Health to In-Field and Edge-of-Field Water Management: Why this Workshop</vt:lpstr>
      <vt:lpstr>PowerPoint Presentation</vt:lpstr>
      <vt:lpstr>PowerPoint Presentation</vt:lpstr>
      <vt:lpstr>Soil Carbon and Biogeochemistry: Wetland Scientist Conceptual Model :</vt:lpstr>
      <vt:lpstr>Water Table Controls Distribution of Prime Ag Lands</vt:lpstr>
      <vt:lpstr>Linking Soil and Watershed Health to In-Field and Edge-of-Field Water Management: Alternative Models</vt:lpstr>
      <vt:lpstr>PowerPoint Presentation</vt:lpstr>
      <vt:lpstr>PowerPoint Presentation</vt:lpstr>
      <vt:lpstr>PowerPoint Presentation</vt:lpstr>
      <vt:lpstr>Linking Soil and Watershed Health to  In-field and Edge-of-Field Water Management </vt:lpstr>
      <vt:lpstr>Linking Soil and Watershed Health to  In-field and Edge-of-Field Water Management  January 23-24, 2020</vt:lpstr>
      <vt:lpstr> House Rules:</vt:lpstr>
      <vt:lpstr>Group dinner:  the wine bar at vintner valley 7pm 510 County Route 59/2, Burroughs Street, Morgantown, WV </vt:lpstr>
      <vt:lpstr>  Other Recommended dinner options  Within walking distance Los Mariachis Puglioni’s Pasta and Pizza Ogawa Japenese Restaurant Ta-Khrai Thai Café  downtown area (Drive) Mountain State Brewing Olivarios Table 9 Sargasso Tin 202   </vt:lpstr>
      <vt:lpstr>PowerPoint Presentation</vt:lpstr>
      <vt:lpstr>PowerPoint Presentation</vt:lpstr>
      <vt:lpstr>   CBP’s Scientific &amp; Technical Advisory Committee (STAC)</vt:lpstr>
      <vt:lpstr>PowerPoint Presentation</vt:lpstr>
      <vt:lpstr>Linking Soil and Watershed Health to In-Field and Edge-of-Field Water Management: Why this Worksh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hy Boomer</dc:creator>
  <cp:lastModifiedBy>Harvey, Annabelle</cp:lastModifiedBy>
  <cp:revision>96</cp:revision>
  <dcterms:created xsi:type="dcterms:W3CDTF">2019-11-07T14:52:56Z</dcterms:created>
  <dcterms:modified xsi:type="dcterms:W3CDTF">2020-01-23T12:52:32Z</dcterms:modified>
</cp:coreProperties>
</file>